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2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0" r:id="rId4"/>
  </p:sldMasterIdLst>
  <p:notesMasterIdLst>
    <p:notesMasterId r:id="rId11"/>
  </p:notesMasterIdLst>
  <p:sldIdLst>
    <p:sldId id="12586" r:id="rId5"/>
    <p:sldId id="12550" r:id="rId6"/>
    <p:sldId id="12415" r:id="rId7"/>
    <p:sldId id="12579" r:id="rId8"/>
    <p:sldId id="12582" r:id="rId9"/>
    <p:sldId id="12583" r:id="rId10"/>
  </p:sldIdLst>
  <p:sldSz cx="9144000" cy="5143500" type="screen16x9"/>
  <p:notesSz cx="6858000" cy="9144000"/>
  <p:custDataLst>
    <p:tags r:id="rId12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B78C8F2F-62CD-0369-5BD0-536495F5E0C3}" name="Bogoljub Ilievski" initials="BI" userId="S::bilievski@epo.org::ca1580dc-6330-4189-8790-1197f0ad0416" providerId="AD"/>
  <p188:author id="{C5E067D0-5687-2B3D-D26E-646489AA2BAF}" name="Elena Schumann" initials="ES" userId="qZZU22eU3yOHkylTBQYU3EHB5kkvFDLTvtrqjoWUfUM=" providerId="None"/>
  <p188:author id="{B29FC3DF-0235-7C02-E816-FAF2CE893145}" name="Ilievski, Bogoljub" initials="IB" userId="k1V2fvaDk1DjFl7dKjnGWoP6BqsJV2r5hBk9WLxPo/w=" providerId="None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B3B6BB"/>
    <a:srgbClr val="D9DBDD"/>
    <a:srgbClr val="FFB466"/>
    <a:srgbClr val="FFCD9A"/>
    <a:srgbClr val="FFE6CD"/>
    <a:srgbClr val="5D9393"/>
    <a:srgbClr val="83E0D8"/>
    <a:srgbClr val="ACEAE5"/>
    <a:srgbClr val="D6F5F3"/>
    <a:srgbClr val="85AFA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08B94077-835D-48C2-BA0C-FC102FCE950F}" v="30" dt="2026-04-16T14:51:38.200"/>
    <p1510:client id="{4EC5268A-3FA9-4675-8B7B-83EBABE441E9}" v="65" dt="2026-04-15T13:56:40.216"/>
    <p1510:client id="{9594FF1C-6863-41C0-B978-B90A22D02680}" v="505" dt="2026-04-15T16:04:19.250"/>
    <p1510:client id="{98ACAA22-1B30-41A5-881E-D5BEF4979882}" v="2" dt="2026-04-15T17:02:40.186"/>
    <p1510:client id="{9D1B34C2-9F3F-44D2-99E9-D0C93B1E129A}" v="300" dt="2026-04-15T21:27:50.188"/>
    <p1510:client id="{AA02D290-B68E-45D2-8582-02391C315879}" v="739" dt="2026-04-14T22:13:03.833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2895" autoAdjust="0"/>
    <p:restoredTop sz="97419" autoAdjust="0"/>
  </p:normalViewPr>
  <p:slideViewPr>
    <p:cSldViewPr snapToGrid="0">
      <p:cViewPr>
        <p:scale>
          <a:sx n="115" d="100"/>
          <a:sy n="115" d="100"/>
        </p:scale>
        <p:origin x="826" y="30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200" d="100"/>
        <a:sy n="20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presProps" Target="presProps.xml"/><Relationship Id="rId18" Type="http://schemas.microsoft.com/office/2015/10/relationships/revisionInfo" Target="revisionInfo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tags" Target="tags/tag1.xml"/><Relationship Id="rId17" Type="http://schemas.microsoft.com/office/2016/11/relationships/changesInfo" Target="changesInfos/changesInfo1.xml"/><Relationship Id="rId2" Type="http://schemas.openxmlformats.org/officeDocument/2006/relationships/customXml" Target="../customXml/item2.xml"/><Relationship Id="rId16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1.xml"/><Relationship Id="rId15" Type="http://schemas.openxmlformats.org/officeDocument/2006/relationships/theme" Target="theme/theme1.xml"/><Relationship Id="rId10" Type="http://schemas.openxmlformats.org/officeDocument/2006/relationships/slide" Target="slides/slide6.xml"/><Relationship Id="rId19" Type="http://schemas.microsoft.com/office/2018/10/relationships/authors" Target="author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viewProps" Target="view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Bogoljub Ilievski" userId="k1V2fvaDk1DjFl7dKjnGWoP6BqsJV2r5hBk9WLxPo/w=" providerId="None" clId="Web-{65E342B3-8337-4C7B-8C0A-7E1D591297D5}"/>
    <pc:docChg chg="modSld">
      <pc:chgData name="Bogoljub Ilievski" userId="k1V2fvaDk1DjFl7dKjnGWoP6BqsJV2r5hBk9WLxPo/w=" providerId="None" clId="Web-{65E342B3-8337-4C7B-8C0A-7E1D591297D5}" dt="2026-04-13T13:15:28.487" v="3" actId="20577"/>
      <pc:docMkLst>
        <pc:docMk/>
      </pc:docMkLst>
      <pc:sldChg chg="modSp">
        <pc:chgData name="Bogoljub Ilievski" userId="k1V2fvaDk1DjFl7dKjnGWoP6BqsJV2r5hBk9WLxPo/w=" providerId="None" clId="Web-{65E342B3-8337-4C7B-8C0A-7E1D591297D5}" dt="2026-04-13T13:15:28.487" v="3" actId="20577"/>
        <pc:sldMkLst>
          <pc:docMk/>
          <pc:sldMk cId="1773330120" sldId="12579"/>
        </pc:sldMkLst>
      </pc:sldChg>
    </pc:docChg>
  </pc:docChgLst>
  <pc:docChgLst>
    <pc:chgData name="Elena Schumann" userId="qZZU22eU3yOHkylTBQYU3EHB5kkvFDLTvtrqjoWUfUM=" providerId="None" clId="Web-{51DF7526-653B-42ED-934F-DC6E0DEA73AF}"/>
    <pc:docChg chg="mod">
      <pc:chgData name="Elena Schumann" userId="qZZU22eU3yOHkylTBQYU3EHB5kkvFDLTvtrqjoWUfUM=" providerId="None" clId="Web-{51DF7526-653B-42ED-934F-DC6E0DEA73AF}" dt="2026-04-13T21:18:45.007" v="0"/>
      <pc:docMkLst>
        <pc:docMk/>
      </pc:docMkLst>
    </pc:docChg>
  </pc:docChgLst>
  <pc:docChgLst>
    <pc:chgData name="Ilievski, Bogoljub" userId="k1V2fvaDk1DjFl7dKjnGWoP6BqsJV2r5hBk9WLxPo/w=" providerId="None" clId="Web-{0543C649-D387-4FD9-902A-9692238F6822}"/>
    <pc:docChg chg="modSld">
      <pc:chgData name="Ilievski, Bogoljub" userId="k1V2fvaDk1DjFl7dKjnGWoP6BqsJV2r5hBk9WLxPo/w=" providerId="None" clId="Web-{0543C649-D387-4FD9-902A-9692238F6822}" dt="2026-04-08T10:23:33.763" v="37" actId="20577"/>
      <pc:docMkLst>
        <pc:docMk/>
      </pc:docMkLst>
      <pc:sldChg chg="addSp delSp modSp">
        <pc:chgData name="Ilievski, Bogoljub" userId="k1V2fvaDk1DjFl7dKjnGWoP6BqsJV2r5hBk9WLxPo/w=" providerId="None" clId="Web-{0543C649-D387-4FD9-902A-9692238F6822}" dt="2026-04-08T10:23:33.763" v="37" actId="20577"/>
        <pc:sldMkLst>
          <pc:docMk/>
          <pc:sldMk cId="1773330120" sldId="12579"/>
        </pc:sldMkLst>
      </pc:sldChg>
    </pc:docChg>
  </pc:docChgLst>
  <pc:docChgLst>
    <pc:chgData name="Bogoljub Ilievski" userId="ca1580dc-6330-4189-8790-1197f0ad0416" providerId="ADAL" clId="{8E195A75-DEC9-46E6-B50A-860878C92642}"/>
    <pc:docChg chg="undo custSel addSld delSld modSld sldOrd">
      <pc:chgData name="Bogoljub Ilievski" userId="ca1580dc-6330-4189-8790-1197f0ad0416" providerId="ADAL" clId="{8E195A75-DEC9-46E6-B50A-860878C92642}" dt="2026-04-07T21:32:23.804" v="1295"/>
      <pc:docMkLst>
        <pc:docMk/>
      </pc:docMkLst>
      <pc:sldChg chg="modSp add ord">
        <pc:chgData name="Bogoljub Ilievski" userId="ca1580dc-6330-4189-8790-1197f0ad0416" providerId="ADAL" clId="{8E195A75-DEC9-46E6-B50A-860878C92642}" dt="2026-04-07T21:32:23.804" v="1295"/>
        <pc:sldMkLst>
          <pc:docMk/>
          <pc:sldMk cId="1679035307" sldId="12415"/>
        </pc:sldMkLst>
        <pc:spChg chg="mod">
          <ac:chgData name="Bogoljub Ilievski" userId="ca1580dc-6330-4189-8790-1197f0ad0416" providerId="ADAL" clId="{8E195A75-DEC9-46E6-B50A-860878C92642}" dt="2026-04-07T21:32:23.804" v="1295"/>
          <ac:spMkLst>
            <pc:docMk/>
            <pc:sldMk cId="1679035307" sldId="12415"/>
            <ac:spMk id="4" creationId="{DD5355F7-82F8-8316-2CBD-055F036CCD84}"/>
          </ac:spMkLst>
        </pc:spChg>
      </pc:sldChg>
      <pc:sldChg chg="modSp add ord">
        <pc:chgData name="Bogoljub Ilievski" userId="ca1580dc-6330-4189-8790-1197f0ad0416" providerId="ADAL" clId="{8E195A75-DEC9-46E6-B50A-860878C92642}" dt="2026-04-07T21:32:06.653" v="1293"/>
        <pc:sldMkLst>
          <pc:docMk/>
          <pc:sldMk cId="2410946401" sldId="12550"/>
        </pc:sldMkLst>
        <pc:spChg chg="mod">
          <ac:chgData name="Bogoljub Ilievski" userId="ca1580dc-6330-4189-8790-1197f0ad0416" providerId="ADAL" clId="{8E195A75-DEC9-46E6-B50A-860878C92642}" dt="2026-04-07T21:32:06.653" v="1293"/>
          <ac:spMkLst>
            <pc:docMk/>
            <pc:sldMk cId="2410946401" sldId="12550"/>
            <ac:spMk id="4" creationId="{698F23B5-667D-84CA-1B1A-3B2FF15090B5}"/>
          </ac:spMkLst>
        </pc:spChg>
      </pc:sldChg>
      <pc:sldChg chg="delSp modSp add mod ord">
        <pc:chgData name="Bogoljub Ilievski" userId="ca1580dc-6330-4189-8790-1197f0ad0416" providerId="ADAL" clId="{8E195A75-DEC9-46E6-B50A-860878C92642}" dt="2026-04-07T21:31:59.496" v="1292"/>
        <pc:sldMkLst>
          <pc:docMk/>
          <pc:sldMk cId="1773330120" sldId="12579"/>
        </pc:sldMkLst>
        <pc:spChg chg="mod">
          <ac:chgData name="Bogoljub Ilievski" userId="ca1580dc-6330-4189-8790-1197f0ad0416" providerId="ADAL" clId="{8E195A75-DEC9-46E6-B50A-860878C92642}" dt="2026-04-07T21:31:59.496" v="1292"/>
          <ac:spMkLst>
            <pc:docMk/>
            <pc:sldMk cId="1773330120" sldId="12579"/>
            <ac:spMk id="4" creationId="{ADECCF6A-8A94-A797-06D2-A91CA6E7FF66}"/>
          </ac:spMkLst>
        </pc:spChg>
      </pc:sldChg>
      <pc:sldChg chg="addSp delSp modSp mod">
        <pc:chgData name="Bogoljub Ilievski" userId="ca1580dc-6330-4189-8790-1197f0ad0416" providerId="ADAL" clId="{8E195A75-DEC9-46E6-B50A-860878C92642}" dt="2026-04-07T21:25:51.182" v="1265"/>
        <pc:sldMkLst>
          <pc:docMk/>
          <pc:sldMk cId="2582478086" sldId="12582"/>
        </pc:sldMkLst>
        <pc:spChg chg="add del mod">
          <ac:chgData name="Bogoljub Ilievski" userId="ca1580dc-6330-4189-8790-1197f0ad0416" providerId="ADAL" clId="{8E195A75-DEC9-46E6-B50A-860878C92642}" dt="2026-03-19T23:38:42.147" v="1085" actId="1076"/>
          <ac:spMkLst>
            <pc:docMk/>
            <pc:sldMk cId="2582478086" sldId="12582"/>
            <ac:spMk id="8" creationId="{CA0CCCF6-CED5-2798-F2B9-78CDCF751E21}"/>
          </ac:spMkLst>
        </pc:spChg>
        <pc:spChg chg="add mod">
          <ac:chgData name="Bogoljub Ilievski" userId="ca1580dc-6330-4189-8790-1197f0ad0416" providerId="ADAL" clId="{8E195A75-DEC9-46E6-B50A-860878C92642}" dt="2026-04-07T21:15:15.441" v="1250" actId="20577"/>
          <ac:spMkLst>
            <pc:docMk/>
            <pc:sldMk cId="2582478086" sldId="12582"/>
            <ac:spMk id="9" creationId="{AB25D07E-2C26-3350-2A9C-7B46E0479D8E}"/>
          </ac:spMkLst>
        </pc:spChg>
        <pc:spChg chg="mod">
          <ac:chgData name="Bogoljub Ilievski" userId="ca1580dc-6330-4189-8790-1197f0ad0416" providerId="ADAL" clId="{8E195A75-DEC9-46E6-B50A-860878C92642}" dt="2026-03-19T23:39:42.960" v="1102"/>
          <ac:spMkLst>
            <pc:docMk/>
            <pc:sldMk cId="2582478086" sldId="12582"/>
            <ac:spMk id="17" creationId="{CFB79FE1-2768-F43C-107C-28B003FEE69E}"/>
          </ac:spMkLst>
        </pc:spChg>
        <pc:spChg chg="add mod">
          <ac:chgData name="Bogoljub Ilievski" userId="ca1580dc-6330-4189-8790-1197f0ad0416" providerId="ADAL" clId="{8E195A75-DEC9-46E6-B50A-860878C92642}" dt="2026-03-19T23:46:28.588" v="1211" actId="20577"/>
          <ac:spMkLst>
            <pc:docMk/>
            <pc:sldMk cId="2582478086" sldId="12582"/>
            <ac:spMk id="20" creationId="{277C3071-AAC7-AAE2-CC64-68FD2D170644}"/>
          </ac:spMkLst>
        </pc:spChg>
        <pc:spChg chg="add mod">
          <ac:chgData name="Bogoljub Ilievski" userId="ca1580dc-6330-4189-8790-1197f0ad0416" providerId="ADAL" clId="{8E195A75-DEC9-46E6-B50A-860878C92642}" dt="2026-04-07T21:25:51.182" v="1265"/>
          <ac:spMkLst>
            <pc:docMk/>
            <pc:sldMk cId="2582478086" sldId="12582"/>
            <ac:spMk id="23" creationId="{CD918968-F45F-2E50-FD61-70B85FC51258}"/>
          </ac:spMkLst>
        </pc:spChg>
        <pc:spChg chg="mod">
          <ac:chgData name="Bogoljub Ilievski" userId="ca1580dc-6330-4189-8790-1197f0ad0416" providerId="ADAL" clId="{8E195A75-DEC9-46E6-B50A-860878C92642}" dt="2026-04-07T21:15:43.430" v="1257" actId="20577"/>
          <ac:spMkLst>
            <pc:docMk/>
            <pc:sldMk cId="2582478086" sldId="12582"/>
            <ac:spMk id="32" creationId="{1001A4E2-6D3B-C9CC-4D9F-F0D696FBD4F3}"/>
          </ac:spMkLst>
        </pc:spChg>
        <pc:spChg chg="mod">
          <ac:chgData name="Bogoljub Ilievski" userId="ca1580dc-6330-4189-8790-1197f0ad0416" providerId="ADAL" clId="{8E195A75-DEC9-46E6-B50A-860878C92642}" dt="2026-03-19T23:49:50.855" v="1240" actId="20577"/>
          <ac:spMkLst>
            <pc:docMk/>
            <pc:sldMk cId="2582478086" sldId="12582"/>
            <ac:spMk id="45" creationId="{B41613A1-6AD5-264F-F982-B5F98D3572C5}"/>
          </ac:spMkLst>
        </pc:spChg>
        <pc:grpChg chg="add mod">
          <ac:chgData name="Bogoljub Ilievski" userId="ca1580dc-6330-4189-8790-1197f0ad0416" providerId="ADAL" clId="{8E195A75-DEC9-46E6-B50A-860878C92642}" dt="2026-03-19T23:39:49.333" v="1103" actId="1076"/>
          <ac:grpSpMkLst>
            <pc:docMk/>
            <pc:sldMk cId="2582478086" sldId="12582"/>
            <ac:grpSpMk id="10" creationId="{65088B57-5A2E-7F1A-F49D-8120D901C52E}"/>
          </ac:grpSpMkLst>
        </pc:grpChg>
        <pc:picChg chg="mod">
          <ac:chgData name="Bogoljub Ilievski" userId="ca1580dc-6330-4189-8790-1197f0ad0416" providerId="ADAL" clId="{8E195A75-DEC9-46E6-B50A-860878C92642}" dt="2026-03-19T23:39:42.960" v="1102"/>
          <ac:picMkLst>
            <pc:docMk/>
            <pc:sldMk cId="2582478086" sldId="12582"/>
            <ac:picMk id="19" creationId="{BAFD8964-8BF6-3CF7-0882-4358ABC09983}"/>
          </ac:picMkLst>
        </pc:picChg>
      </pc:sldChg>
      <pc:sldChg chg="addSp delSp modSp mod">
        <pc:chgData name="Bogoljub Ilievski" userId="ca1580dc-6330-4189-8790-1197f0ad0416" providerId="ADAL" clId="{8E195A75-DEC9-46E6-B50A-860878C92642}" dt="2026-04-07T21:19:51.322" v="1259" actId="1076"/>
        <pc:sldMkLst>
          <pc:docMk/>
          <pc:sldMk cId="2994107730" sldId="12583"/>
        </pc:sldMkLst>
        <pc:spChg chg="add mod">
          <ac:chgData name="Bogoljub Ilievski" userId="ca1580dc-6330-4189-8790-1197f0ad0416" providerId="ADAL" clId="{8E195A75-DEC9-46E6-B50A-860878C92642}" dt="2026-04-07T21:19:51.322" v="1259" actId="1076"/>
          <ac:spMkLst>
            <pc:docMk/>
            <pc:sldMk cId="2994107730" sldId="12583"/>
            <ac:spMk id="2" creationId="{C09888E4-C630-4125-477F-91F3DEE66184}"/>
          </ac:spMkLst>
        </pc:spChg>
        <pc:spChg chg="mod">
          <ac:chgData name="Bogoljub Ilievski" userId="ca1580dc-6330-4189-8790-1197f0ad0416" providerId="ADAL" clId="{8E195A75-DEC9-46E6-B50A-860878C92642}" dt="2026-04-07T21:14:05.181" v="1248" actId="20577"/>
          <ac:spMkLst>
            <pc:docMk/>
            <pc:sldMk cId="2994107730" sldId="12583"/>
            <ac:spMk id="33" creationId="{2E84C368-92FF-5A7E-83EC-0D18D4B5CB06}"/>
          </ac:spMkLst>
        </pc:spChg>
        <pc:spChg chg="mod">
          <ac:chgData name="Bogoljub Ilievski" userId="ca1580dc-6330-4189-8790-1197f0ad0416" providerId="ADAL" clId="{8E195A75-DEC9-46E6-B50A-860878C92642}" dt="2026-03-19T23:42:49.740" v="1120" actId="20577"/>
          <ac:spMkLst>
            <pc:docMk/>
            <pc:sldMk cId="2994107730" sldId="12583"/>
            <ac:spMk id="40" creationId="{A82B91E5-98A2-7067-900B-8F56FCCD9DB6}"/>
          </ac:spMkLst>
        </pc:spChg>
      </pc:sldChg>
      <pc:sldChg chg="modSp add ord">
        <pc:chgData name="Bogoljub Ilievski" userId="ca1580dc-6330-4189-8790-1197f0ad0416" providerId="ADAL" clId="{8E195A75-DEC9-46E6-B50A-860878C92642}" dt="2026-04-07T21:32:16.790" v="1294"/>
        <pc:sldMkLst>
          <pc:docMk/>
          <pc:sldMk cId="821924550" sldId="12586"/>
        </pc:sldMkLst>
        <pc:spChg chg="mod">
          <ac:chgData name="Bogoljub Ilievski" userId="ca1580dc-6330-4189-8790-1197f0ad0416" providerId="ADAL" clId="{8E195A75-DEC9-46E6-B50A-860878C92642}" dt="2026-04-07T21:32:16.790" v="1294"/>
          <ac:spMkLst>
            <pc:docMk/>
            <pc:sldMk cId="821924550" sldId="12586"/>
            <ac:spMk id="5" creationId="{E5C1A3A0-9C98-90AC-7574-7A7F000A781C}"/>
          </ac:spMkLst>
        </pc:spChg>
      </pc:sldChg>
    </pc:docChg>
  </pc:docChgLst>
  <pc:docChgLst>
    <pc:chgData name="Elena Schumann" userId="qZZU22eU3yOHkylTBQYU3EHB5kkvFDLTvtrqjoWUfUM=" providerId="None" clId="Web-{4EC5268A-3FA9-4675-8B7B-83EBABE441E9}"/>
    <pc:docChg chg="modSld">
      <pc:chgData name="Elena Schumann" userId="qZZU22eU3yOHkylTBQYU3EHB5kkvFDLTvtrqjoWUfUM=" providerId="None" clId="Web-{4EC5268A-3FA9-4675-8B7B-83EBABE441E9}" dt="2026-04-15T13:56:40.216" v="56" actId="1076"/>
      <pc:docMkLst>
        <pc:docMk/>
      </pc:docMkLst>
      <pc:sldChg chg="modSp">
        <pc:chgData name="Elena Schumann" userId="qZZU22eU3yOHkylTBQYU3EHB5kkvFDLTvtrqjoWUfUM=" providerId="None" clId="Web-{4EC5268A-3FA9-4675-8B7B-83EBABE441E9}" dt="2026-04-15T13:56:40.216" v="56" actId="1076"/>
        <pc:sldMkLst>
          <pc:docMk/>
          <pc:sldMk cId="1773330120" sldId="12579"/>
        </pc:sldMkLst>
        <pc:spChg chg="mod">
          <ac:chgData name="Elena Schumann" userId="qZZU22eU3yOHkylTBQYU3EHB5kkvFDLTvtrqjoWUfUM=" providerId="None" clId="Web-{4EC5268A-3FA9-4675-8B7B-83EBABE441E9}" dt="2026-04-15T13:56:40.216" v="56" actId="1076"/>
          <ac:spMkLst>
            <pc:docMk/>
            <pc:sldMk cId="1773330120" sldId="12579"/>
            <ac:spMk id="42" creationId="{6B276868-27F9-42B5-ADDB-C6672A509E00}"/>
          </ac:spMkLst>
        </pc:spChg>
        <pc:spChg chg="mod">
          <ac:chgData name="Elena Schumann" userId="qZZU22eU3yOHkylTBQYU3EHB5kkvFDLTvtrqjoWUfUM=" providerId="None" clId="Web-{4EC5268A-3FA9-4675-8B7B-83EBABE441E9}" dt="2026-04-15T13:56:12.668" v="51"/>
          <ac:spMkLst>
            <pc:docMk/>
            <pc:sldMk cId="1773330120" sldId="12579"/>
            <ac:spMk id="68" creationId="{3C210883-E4C6-AD08-821D-84265D71DF8F}"/>
          </ac:spMkLst>
        </pc:spChg>
        <pc:picChg chg="mod">
          <ac:chgData name="Elena Schumann" userId="qZZU22eU3yOHkylTBQYU3EHB5kkvFDLTvtrqjoWUfUM=" providerId="None" clId="Web-{4EC5268A-3FA9-4675-8B7B-83EBABE441E9}" dt="2026-04-15T13:56:40.216" v="55" actId="1076"/>
          <ac:picMkLst>
            <pc:docMk/>
            <pc:sldMk cId="1773330120" sldId="12579"/>
            <ac:picMk id="48" creationId="{C5F96564-13D0-46E2-3AE8-D06191AA3CC3}"/>
          </ac:picMkLst>
        </pc:picChg>
      </pc:sldChg>
      <pc:sldChg chg="modSp">
        <pc:chgData name="Elena Schumann" userId="qZZU22eU3yOHkylTBQYU3EHB5kkvFDLTvtrqjoWUfUM=" providerId="None" clId="Web-{4EC5268A-3FA9-4675-8B7B-83EBABE441E9}" dt="2026-04-15T13:55:06.948" v="35" actId="20577"/>
        <pc:sldMkLst>
          <pc:docMk/>
          <pc:sldMk cId="821924550" sldId="12586"/>
        </pc:sldMkLst>
        <pc:spChg chg="mod">
          <ac:chgData name="Elena Schumann" userId="qZZU22eU3yOHkylTBQYU3EHB5kkvFDLTvtrqjoWUfUM=" providerId="None" clId="Web-{4EC5268A-3FA9-4675-8B7B-83EBABE441E9}" dt="2026-04-15T13:55:06.948" v="35" actId="20577"/>
          <ac:spMkLst>
            <pc:docMk/>
            <pc:sldMk cId="821924550" sldId="12586"/>
            <ac:spMk id="3" creationId="{D6EABE22-7D33-CAB0-2B75-FCE6467293F0}"/>
          </ac:spMkLst>
        </pc:spChg>
        <pc:spChg chg="mod">
          <ac:chgData name="Elena Schumann" userId="qZZU22eU3yOHkylTBQYU3EHB5kkvFDLTvtrqjoWUfUM=" providerId="None" clId="Web-{4EC5268A-3FA9-4675-8B7B-83EBABE441E9}" dt="2026-04-15T13:53:19.117" v="24" actId="14100"/>
          <ac:spMkLst>
            <pc:docMk/>
            <pc:sldMk cId="821924550" sldId="12586"/>
            <ac:spMk id="8" creationId="{C77818E2-C4D0-F084-F6C1-062DEE72C5DD}"/>
          </ac:spMkLst>
        </pc:spChg>
      </pc:sldChg>
    </pc:docChg>
  </pc:docChgLst>
  <pc:docChgLst>
    <pc:chgData name="Ilievski, Bogoljub" userId="k1V2fvaDk1DjFl7dKjnGWoP6BqsJV2r5hBk9WLxPo/w=" providerId="None" clId="Web-{AA02D290-B68E-45D2-8582-02391C315879}"/>
    <pc:docChg chg="mod modSld">
      <pc:chgData name="Ilievski, Bogoljub" userId="k1V2fvaDk1DjFl7dKjnGWoP6BqsJV2r5hBk9WLxPo/w=" providerId="None" clId="Web-{AA02D290-B68E-45D2-8582-02391C315879}" dt="2026-04-14T22:13:00.833" v="482" actId="20577"/>
      <pc:docMkLst>
        <pc:docMk/>
      </pc:docMkLst>
      <pc:sldChg chg="modSp modCm">
        <pc:chgData name="Ilievski, Bogoljub" userId="k1V2fvaDk1DjFl7dKjnGWoP6BqsJV2r5hBk9WLxPo/w=" providerId="None" clId="Web-{AA02D290-B68E-45D2-8582-02391C315879}" dt="2026-04-14T21:03:50.618" v="168" actId="20577"/>
        <pc:sldMkLst>
          <pc:docMk/>
          <pc:sldMk cId="1679035307" sldId="12415"/>
        </pc:sldMkLst>
        <pc:spChg chg="mod">
          <ac:chgData name="Ilievski, Bogoljub" userId="k1V2fvaDk1DjFl7dKjnGWoP6BqsJV2r5hBk9WLxPo/w=" providerId="None" clId="Web-{AA02D290-B68E-45D2-8582-02391C315879}" dt="2026-04-14T20:46:23.794" v="4" actId="20577"/>
          <ac:spMkLst>
            <pc:docMk/>
            <pc:sldMk cId="1679035307" sldId="12415"/>
            <ac:spMk id="2" creationId="{B8B2B151-A295-93C2-B733-F30B6D4A8939}"/>
          </ac:spMkLst>
        </pc:spChg>
        <pc:spChg chg="mod">
          <ac:chgData name="Ilievski, Bogoljub" userId="k1V2fvaDk1DjFl7dKjnGWoP6BqsJV2r5hBk9WLxPo/w=" providerId="None" clId="Web-{AA02D290-B68E-45D2-8582-02391C315879}" dt="2026-04-14T20:50:46.044" v="6" actId="20577"/>
          <ac:spMkLst>
            <pc:docMk/>
            <pc:sldMk cId="1679035307" sldId="12415"/>
            <ac:spMk id="4" creationId="{DD5355F7-82F8-8316-2CBD-055F036CCD84}"/>
          </ac:spMkLst>
        </pc:spChg>
        <pc:spChg chg="mod">
          <ac:chgData name="Ilievski, Bogoljub" userId="k1V2fvaDk1DjFl7dKjnGWoP6BqsJV2r5hBk9WLxPo/w=" providerId="None" clId="Web-{AA02D290-B68E-45D2-8582-02391C315879}" dt="2026-04-14T21:00:26.261" v="124" actId="20577"/>
          <ac:spMkLst>
            <pc:docMk/>
            <pc:sldMk cId="1679035307" sldId="12415"/>
            <ac:spMk id="11" creationId="{A5661656-3AD2-73EC-7D94-D4EDE36C9991}"/>
          </ac:spMkLst>
        </pc:spChg>
        <pc:spChg chg="mod">
          <ac:chgData name="Ilievski, Bogoljub" userId="k1V2fvaDk1DjFl7dKjnGWoP6BqsJV2r5hBk9WLxPo/w=" providerId="None" clId="Web-{AA02D290-B68E-45D2-8582-02391C315879}" dt="2026-04-14T21:00:38.448" v="125" actId="20577"/>
          <ac:spMkLst>
            <pc:docMk/>
            <pc:sldMk cId="1679035307" sldId="12415"/>
            <ac:spMk id="12" creationId="{71330348-7F58-BA3F-8DBC-BF109309FD8C}"/>
          </ac:spMkLst>
        </pc:spChg>
        <pc:spChg chg="mod">
          <ac:chgData name="Ilievski, Bogoljub" userId="k1V2fvaDk1DjFl7dKjnGWoP6BqsJV2r5hBk9WLxPo/w=" providerId="None" clId="Web-{AA02D290-B68E-45D2-8582-02391C315879}" dt="2026-04-14T20:52:15.622" v="24" actId="20577"/>
          <ac:spMkLst>
            <pc:docMk/>
            <pc:sldMk cId="1679035307" sldId="12415"/>
            <ac:spMk id="13" creationId="{72F68011-DD81-65FF-EB2F-806161524E34}"/>
          </ac:spMkLst>
        </pc:spChg>
        <pc:spChg chg="mod">
          <ac:chgData name="Ilievski, Bogoljub" userId="k1V2fvaDk1DjFl7dKjnGWoP6BqsJV2r5hBk9WLxPo/w=" providerId="None" clId="Web-{AA02D290-B68E-45D2-8582-02391C315879}" dt="2026-04-14T21:03:50.618" v="168" actId="20577"/>
          <ac:spMkLst>
            <pc:docMk/>
            <pc:sldMk cId="1679035307" sldId="12415"/>
            <ac:spMk id="14" creationId="{E24BB2DD-1FCF-14C4-1798-5076AF6973F4}"/>
          </ac:spMkLst>
        </pc:spChg>
        <pc:extLst>
          <p:ext xmlns:p="http://schemas.openxmlformats.org/presentationml/2006/main" uri="{D6D511B9-2390-475A-947B-AFAB55BFBCF1}">
            <pc226:cmChg xmlns:pc226="http://schemas.microsoft.com/office/powerpoint/2022/06/main/command" chg="mod">
              <pc226:chgData name="Ilievski, Bogoljub" userId="k1V2fvaDk1DjFl7dKjnGWoP6BqsJV2r5hBk9WLxPo/w=" providerId="None" clId="Web-{AA02D290-B68E-45D2-8582-02391C315879}" dt="2026-04-14T20:50:46.044" v="6" actId="20577"/>
              <pc2:cmMkLst xmlns:pc2="http://schemas.microsoft.com/office/powerpoint/2019/9/main/command">
                <pc:docMk/>
                <pc:sldMk cId="1679035307" sldId="12415"/>
                <pc2:cmMk id="{B9CAFF5B-1746-4735-8077-CB3EF3F63638}"/>
              </pc2:cmMkLst>
            </pc226:cmChg>
          </p:ext>
        </pc:extLst>
      </pc:sldChg>
      <pc:sldChg chg="modSp">
        <pc:chgData name="Ilievski, Bogoljub" userId="k1V2fvaDk1DjFl7dKjnGWoP6BqsJV2r5hBk9WLxPo/w=" providerId="None" clId="Web-{AA02D290-B68E-45D2-8582-02391C315879}" dt="2026-04-14T20:50:54.810" v="11" actId="20577"/>
        <pc:sldMkLst>
          <pc:docMk/>
          <pc:sldMk cId="2410946401" sldId="12550"/>
        </pc:sldMkLst>
        <pc:spChg chg="mod">
          <ac:chgData name="Ilievski, Bogoljub" userId="k1V2fvaDk1DjFl7dKjnGWoP6BqsJV2r5hBk9WLxPo/w=" providerId="None" clId="Web-{AA02D290-B68E-45D2-8582-02391C315879}" dt="2026-04-14T20:50:54.810" v="11" actId="20577"/>
          <ac:spMkLst>
            <pc:docMk/>
            <pc:sldMk cId="2410946401" sldId="12550"/>
            <ac:spMk id="4" creationId="{698F23B5-667D-84CA-1B1A-3B2FF15090B5}"/>
          </ac:spMkLst>
        </pc:spChg>
      </pc:sldChg>
      <pc:sldChg chg="addSp delSp modSp">
        <pc:chgData name="Ilievski, Bogoljub" userId="k1V2fvaDk1DjFl7dKjnGWoP6BqsJV2r5hBk9WLxPo/w=" providerId="None" clId="Web-{AA02D290-B68E-45D2-8582-02391C315879}" dt="2026-04-14T21:21:37.654" v="264" actId="1076"/>
        <pc:sldMkLst>
          <pc:docMk/>
          <pc:sldMk cId="1773330120" sldId="12579"/>
        </pc:sldMkLst>
        <pc:spChg chg="mod">
          <ac:chgData name="Ilievski, Bogoljub" userId="k1V2fvaDk1DjFl7dKjnGWoP6BqsJV2r5hBk9WLxPo/w=" providerId="None" clId="Web-{AA02D290-B68E-45D2-8582-02391C315879}" dt="2026-04-14T20:51:02.169" v="15" actId="20577"/>
          <ac:spMkLst>
            <pc:docMk/>
            <pc:sldMk cId="1773330120" sldId="12579"/>
            <ac:spMk id="4" creationId="{ADECCF6A-8A94-A797-06D2-A91CA6E7FF66}"/>
          </ac:spMkLst>
        </pc:spChg>
      </pc:sldChg>
      <pc:sldChg chg="modSp">
        <pc:chgData name="Ilievski, Bogoljub" userId="k1V2fvaDk1DjFl7dKjnGWoP6BqsJV2r5hBk9WLxPo/w=" providerId="None" clId="Web-{AA02D290-B68E-45D2-8582-02391C315879}" dt="2026-04-14T20:50:34.513" v="5" actId="20577"/>
        <pc:sldMkLst>
          <pc:docMk/>
          <pc:sldMk cId="2582478086" sldId="12582"/>
        </pc:sldMkLst>
        <pc:spChg chg="mod">
          <ac:chgData name="Ilievski, Bogoljub" userId="k1V2fvaDk1DjFl7dKjnGWoP6BqsJV2r5hBk9WLxPo/w=" providerId="None" clId="Web-{AA02D290-B68E-45D2-8582-02391C315879}" dt="2026-04-14T20:50:34.513" v="5" actId="20577"/>
          <ac:spMkLst>
            <pc:docMk/>
            <pc:sldMk cId="2582478086" sldId="12582"/>
            <ac:spMk id="3" creationId="{D53FC186-C8AE-933A-5C40-F21A5746ED6D}"/>
          </ac:spMkLst>
        </pc:spChg>
      </pc:sldChg>
      <pc:sldChg chg="modSp modCm">
        <pc:chgData name="Ilievski, Bogoljub" userId="k1V2fvaDk1DjFl7dKjnGWoP6BqsJV2r5hBk9WLxPo/w=" providerId="None" clId="Web-{AA02D290-B68E-45D2-8582-02391C315879}" dt="2026-04-14T22:13:00.833" v="482" actId="20577"/>
        <pc:sldMkLst>
          <pc:docMk/>
          <pc:sldMk cId="2994107730" sldId="12583"/>
        </pc:sldMkLst>
        <pc:spChg chg="mod">
          <ac:chgData name="Ilievski, Bogoljub" userId="k1V2fvaDk1DjFl7dKjnGWoP6BqsJV2r5hBk9WLxPo/w=" providerId="None" clId="Web-{AA02D290-B68E-45D2-8582-02391C315879}" dt="2026-04-14T20:51:14.513" v="16" actId="20577"/>
          <ac:spMkLst>
            <pc:docMk/>
            <pc:sldMk cId="2994107730" sldId="12583"/>
            <ac:spMk id="3" creationId="{D065F8D1-60A5-2D97-EBC0-49684F0EBAAB}"/>
          </ac:spMkLst>
        </pc:spChg>
        <pc:spChg chg="mod">
          <ac:chgData name="Ilievski, Bogoljub" userId="k1V2fvaDk1DjFl7dKjnGWoP6BqsJV2r5hBk9WLxPo/w=" providerId="None" clId="Web-{AA02D290-B68E-45D2-8582-02391C315879}" dt="2026-04-14T22:11:32.614" v="471" actId="20577"/>
          <ac:spMkLst>
            <pc:docMk/>
            <pc:sldMk cId="2994107730" sldId="12583"/>
            <ac:spMk id="6" creationId="{E8765A8D-AE2E-5F15-6467-3EE2A8E10427}"/>
          </ac:spMkLst>
        </pc:spChg>
        <pc:spChg chg="mod">
          <ac:chgData name="Ilievski, Bogoljub" userId="k1V2fvaDk1DjFl7dKjnGWoP6BqsJV2r5hBk9WLxPo/w=" providerId="None" clId="Web-{AA02D290-B68E-45D2-8582-02391C315879}" dt="2026-04-14T21:56:59.731" v="266" actId="1076"/>
          <ac:spMkLst>
            <pc:docMk/>
            <pc:sldMk cId="2994107730" sldId="12583"/>
            <ac:spMk id="12" creationId="{4E646CDF-1F1F-94FB-E3E4-FF31855BB058}"/>
          </ac:spMkLst>
        </pc:spChg>
        <pc:spChg chg="mod">
          <ac:chgData name="Ilievski, Bogoljub" userId="k1V2fvaDk1DjFl7dKjnGWoP6BqsJV2r5hBk9WLxPo/w=" providerId="None" clId="Web-{AA02D290-B68E-45D2-8582-02391C315879}" dt="2026-04-14T22:12:03.739" v="474" actId="20577"/>
          <ac:spMkLst>
            <pc:docMk/>
            <pc:sldMk cId="2994107730" sldId="12583"/>
            <ac:spMk id="16" creationId="{B69DE5B0-DD18-DFB3-3612-C977C7068245}"/>
          </ac:spMkLst>
        </pc:spChg>
        <pc:spChg chg="mod">
          <ac:chgData name="Ilievski, Bogoljub" userId="k1V2fvaDk1DjFl7dKjnGWoP6BqsJV2r5hBk9WLxPo/w=" providerId="None" clId="Web-{AA02D290-B68E-45D2-8582-02391C315879}" dt="2026-04-14T22:08:49.006" v="419" actId="20577"/>
          <ac:spMkLst>
            <pc:docMk/>
            <pc:sldMk cId="2994107730" sldId="12583"/>
            <ac:spMk id="17" creationId="{420A86E5-28BA-3218-D5FD-FF6A0EB34D43}"/>
          </ac:spMkLst>
        </pc:spChg>
        <pc:spChg chg="mod">
          <ac:chgData name="Ilievski, Bogoljub" userId="k1V2fvaDk1DjFl7dKjnGWoP6BqsJV2r5hBk9WLxPo/w=" providerId="None" clId="Web-{AA02D290-B68E-45D2-8582-02391C315879}" dt="2026-04-14T22:00:59.012" v="283" actId="20577"/>
          <ac:spMkLst>
            <pc:docMk/>
            <pc:sldMk cId="2994107730" sldId="12583"/>
            <ac:spMk id="31" creationId="{A6399F54-0610-0FB2-14DF-6ADE4326E29D}"/>
          </ac:spMkLst>
        </pc:spChg>
        <pc:spChg chg="mod">
          <ac:chgData name="Ilievski, Bogoljub" userId="k1V2fvaDk1DjFl7dKjnGWoP6BqsJV2r5hBk9WLxPo/w=" providerId="None" clId="Web-{AA02D290-B68E-45D2-8582-02391C315879}" dt="2026-04-14T22:01:46.762" v="285" actId="20577"/>
          <ac:spMkLst>
            <pc:docMk/>
            <pc:sldMk cId="2994107730" sldId="12583"/>
            <ac:spMk id="33" creationId="{2E84C368-92FF-5A7E-83EC-0D18D4B5CB06}"/>
          </ac:spMkLst>
        </pc:spChg>
        <pc:spChg chg="mod">
          <ac:chgData name="Ilievski, Bogoljub" userId="k1V2fvaDk1DjFl7dKjnGWoP6BqsJV2r5hBk9WLxPo/w=" providerId="None" clId="Web-{AA02D290-B68E-45D2-8582-02391C315879}" dt="2026-04-14T22:13:00.833" v="482" actId="20577"/>
          <ac:spMkLst>
            <pc:docMk/>
            <pc:sldMk cId="2994107730" sldId="12583"/>
            <ac:spMk id="40" creationId="{A82B91E5-98A2-7067-900B-8F56FCCD9DB6}"/>
          </ac:spMkLst>
        </pc:spChg>
        <pc:extLst>
          <p:ext xmlns:p="http://schemas.openxmlformats.org/presentationml/2006/main" uri="{D6D511B9-2390-475A-947B-AFAB55BFBCF1}">
            <pc226:cmChg xmlns:pc226="http://schemas.microsoft.com/office/powerpoint/2022/06/main/command" chg="mod">
              <pc226:chgData name="Ilievski, Bogoljub" userId="k1V2fvaDk1DjFl7dKjnGWoP6BqsJV2r5hBk9WLxPo/w=" providerId="None" clId="Web-{AA02D290-B68E-45D2-8582-02391C315879}" dt="2026-04-14T22:11:26.599" v="469" actId="20577"/>
              <pc2:cmMkLst xmlns:pc2="http://schemas.microsoft.com/office/powerpoint/2019/9/main/command">
                <pc:docMk/>
                <pc:sldMk cId="2994107730" sldId="12583"/>
                <pc2:cmMk id="{FD8C1E20-0023-4784-97B3-3407BAD605CD}"/>
              </pc2:cmMkLst>
            </pc226:cmChg>
            <pc226:cmChg xmlns:pc226="http://schemas.microsoft.com/office/powerpoint/2022/06/main/command" chg="mod">
              <pc226:chgData name="Ilievski, Bogoljub" userId="k1V2fvaDk1DjFl7dKjnGWoP6BqsJV2r5hBk9WLxPo/w=" providerId="None" clId="Web-{AA02D290-B68E-45D2-8582-02391C315879}" dt="2026-04-14T22:00:31.200" v="282" actId="20577"/>
              <pc2:cmMkLst xmlns:pc2="http://schemas.microsoft.com/office/powerpoint/2019/9/main/command">
                <pc:docMk/>
                <pc:sldMk cId="2994107730" sldId="12583"/>
                <pc2:cmMk id="{EBE5DE50-EAD3-4D4D-AF5D-44064D824F64}"/>
              </pc2:cmMkLst>
            </pc226:cmChg>
            <pc226:cmChg xmlns:pc226="http://schemas.microsoft.com/office/powerpoint/2022/06/main/command" chg="mod">
              <pc226:chgData name="Ilievski, Bogoljub" userId="k1V2fvaDk1DjFl7dKjnGWoP6BqsJV2r5hBk9WLxPo/w=" providerId="None" clId="Web-{AA02D290-B68E-45D2-8582-02391C315879}" dt="2026-04-14T22:00:31.200" v="282" actId="20577"/>
              <pc2:cmMkLst xmlns:pc2="http://schemas.microsoft.com/office/powerpoint/2019/9/main/command">
                <pc:docMk/>
                <pc:sldMk cId="2994107730" sldId="12583"/>
                <pc2:cmMk id="{30B0FAC9-2380-4E4D-9A5B-7A11F4B4FC9F}"/>
              </pc2:cmMkLst>
            </pc226:cmChg>
          </p:ext>
        </pc:extLst>
      </pc:sldChg>
      <pc:sldChg chg="modSp modCm">
        <pc:chgData name="Ilievski, Bogoljub" userId="k1V2fvaDk1DjFl7dKjnGWoP6BqsJV2r5hBk9WLxPo/w=" providerId="None" clId="Web-{AA02D290-B68E-45D2-8582-02391C315879}" dt="2026-04-14T20:50:50.966" v="7" actId="20577"/>
        <pc:sldMkLst>
          <pc:docMk/>
          <pc:sldMk cId="821924550" sldId="12586"/>
        </pc:sldMkLst>
        <pc:spChg chg="mod">
          <ac:chgData name="Ilievski, Bogoljub" userId="k1V2fvaDk1DjFl7dKjnGWoP6BqsJV2r5hBk9WLxPo/w=" providerId="None" clId="Web-{AA02D290-B68E-45D2-8582-02391C315879}" dt="2026-04-14T20:50:50.966" v="7" actId="20577"/>
          <ac:spMkLst>
            <pc:docMk/>
            <pc:sldMk cId="821924550" sldId="12586"/>
            <ac:spMk id="5" creationId="{E5C1A3A0-9C98-90AC-7574-7A7F000A781C}"/>
          </ac:spMkLst>
        </pc:spChg>
        <pc:spChg chg="mod">
          <ac:chgData name="Ilievski, Bogoljub" userId="k1V2fvaDk1DjFl7dKjnGWoP6BqsJV2r5hBk9WLxPo/w=" providerId="None" clId="Web-{AA02D290-B68E-45D2-8582-02391C315879}" dt="2026-04-14T20:45:52.592" v="2" actId="20577"/>
          <ac:spMkLst>
            <pc:docMk/>
            <pc:sldMk cId="821924550" sldId="12586"/>
            <ac:spMk id="8" creationId="{C77818E2-C4D0-F084-F6C1-062DEE72C5DD}"/>
          </ac:spMkLst>
        </pc:spChg>
        <pc:extLst>
          <p:ext xmlns:p="http://schemas.openxmlformats.org/presentationml/2006/main" uri="{D6D511B9-2390-475A-947B-AFAB55BFBCF1}">
            <pc226:cmChg xmlns:pc226="http://schemas.microsoft.com/office/powerpoint/2022/06/main/command" chg="mod">
              <pc226:chgData name="Ilievski, Bogoljub" userId="k1V2fvaDk1DjFl7dKjnGWoP6BqsJV2r5hBk9WLxPo/w=" providerId="None" clId="Web-{AA02D290-B68E-45D2-8582-02391C315879}" dt="2026-04-14T20:45:26.733" v="1" actId="20577"/>
              <pc2:cmMkLst xmlns:pc2="http://schemas.microsoft.com/office/powerpoint/2019/9/main/command">
                <pc:docMk/>
                <pc:sldMk cId="821924550" sldId="12586"/>
                <pc2:cmMk id="{088FEE9D-9902-489E-B2A9-7599B173BC96}"/>
              </pc2:cmMkLst>
            </pc226:cmChg>
          </p:ext>
        </pc:extLst>
      </pc:sldChg>
    </pc:docChg>
  </pc:docChgLst>
  <pc:docChgLst>
    <pc:chgData name="Elena Schumann" userId="qZZU22eU3yOHkylTBQYU3EHB5kkvFDLTvtrqjoWUfUM=" providerId="None" clId="Web-{9594FF1C-6863-41C0-B978-B90A22D02680}"/>
    <pc:docChg chg="modSld sldOrd">
      <pc:chgData name="Elena Schumann" userId="qZZU22eU3yOHkylTBQYU3EHB5kkvFDLTvtrqjoWUfUM=" providerId="None" clId="Web-{9594FF1C-6863-41C0-B978-B90A22D02680}" dt="2026-04-15T16:04:18.907" v="428" actId="20577"/>
      <pc:docMkLst>
        <pc:docMk/>
      </pc:docMkLst>
      <pc:sldChg chg="modSp">
        <pc:chgData name="Elena Schumann" userId="qZZU22eU3yOHkylTBQYU3EHB5kkvFDLTvtrqjoWUfUM=" providerId="None" clId="Web-{9594FF1C-6863-41C0-B978-B90A22D02680}" dt="2026-04-15T16:01:11.217" v="411" actId="20577"/>
        <pc:sldMkLst>
          <pc:docMk/>
          <pc:sldMk cId="1679035307" sldId="12415"/>
        </pc:sldMkLst>
        <pc:spChg chg="mod">
          <ac:chgData name="Elena Schumann" userId="qZZU22eU3yOHkylTBQYU3EHB5kkvFDLTvtrqjoWUfUM=" providerId="None" clId="Web-{9594FF1C-6863-41C0-B978-B90A22D02680}" dt="2026-04-15T16:01:11.217" v="411" actId="20577"/>
          <ac:spMkLst>
            <pc:docMk/>
            <pc:sldMk cId="1679035307" sldId="12415"/>
            <ac:spMk id="4" creationId="{DD5355F7-82F8-8316-2CBD-055F036CCD84}"/>
          </ac:spMkLst>
        </pc:spChg>
      </pc:sldChg>
      <pc:sldChg chg="modSp ord">
        <pc:chgData name="Elena Schumann" userId="qZZU22eU3yOHkylTBQYU3EHB5kkvFDLTvtrqjoWUfUM=" providerId="None" clId="Web-{9594FF1C-6863-41C0-B978-B90A22D02680}" dt="2026-04-15T16:01:03.639" v="410" actId="20577"/>
        <pc:sldMkLst>
          <pc:docMk/>
          <pc:sldMk cId="2410946401" sldId="12550"/>
        </pc:sldMkLst>
        <pc:spChg chg="mod">
          <ac:chgData name="Elena Schumann" userId="qZZU22eU3yOHkylTBQYU3EHB5kkvFDLTvtrqjoWUfUM=" providerId="None" clId="Web-{9594FF1C-6863-41C0-B978-B90A22D02680}" dt="2026-04-15T15:46:55.520" v="145" actId="20577"/>
          <ac:spMkLst>
            <pc:docMk/>
            <pc:sldMk cId="2410946401" sldId="12550"/>
            <ac:spMk id="3" creationId="{3D0C5599-9968-AA3A-7F85-4F79A3C65274}"/>
          </ac:spMkLst>
        </pc:spChg>
        <pc:spChg chg="mod">
          <ac:chgData name="Elena Schumann" userId="qZZU22eU3yOHkylTBQYU3EHB5kkvFDLTvtrqjoWUfUM=" providerId="None" clId="Web-{9594FF1C-6863-41C0-B978-B90A22D02680}" dt="2026-04-15T16:01:03.639" v="410" actId="20577"/>
          <ac:spMkLst>
            <pc:docMk/>
            <pc:sldMk cId="2410946401" sldId="12550"/>
            <ac:spMk id="4" creationId="{698F23B5-667D-84CA-1B1A-3B2FF15090B5}"/>
          </ac:spMkLst>
        </pc:spChg>
      </pc:sldChg>
      <pc:sldChg chg="addSp delSp modSp">
        <pc:chgData name="Elena Schumann" userId="qZZU22eU3yOHkylTBQYU3EHB5kkvFDLTvtrqjoWUfUM=" providerId="None" clId="Web-{9594FF1C-6863-41C0-B978-B90A22D02680}" dt="2026-04-15T16:01:16.280" v="412" actId="20577"/>
        <pc:sldMkLst>
          <pc:docMk/>
          <pc:sldMk cId="1773330120" sldId="12579"/>
        </pc:sldMkLst>
        <pc:spChg chg="mod">
          <ac:chgData name="Elena Schumann" userId="qZZU22eU3yOHkylTBQYU3EHB5kkvFDLTvtrqjoWUfUM=" providerId="None" clId="Web-{9594FF1C-6863-41C0-B978-B90A22D02680}" dt="2026-04-15T15:45:19.643" v="136" actId="20577"/>
          <ac:spMkLst>
            <pc:docMk/>
            <pc:sldMk cId="1773330120" sldId="12579"/>
            <ac:spMk id="2" creationId="{867548DF-0B0D-5A70-C98D-C9E28AC011AA}"/>
          </ac:spMkLst>
        </pc:spChg>
        <pc:spChg chg="mod">
          <ac:chgData name="Elena Schumann" userId="qZZU22eU3yOHkylTBQYU3EHB5kkvFDLTvtrqjoWUfUM=" providerId="None" clId="Web-{9594FF1C-6863-41C0-B978-B90A22D02680}" dt="2026-04-15T16:01:16.280" v="412" actId="20577"/>
          <ac:spMkLst>
            <pc:docMk/>
            <pc:sldMk cId="1773330120" sldId="12579"/>
            <ac:spMk id="4" creationId="{ADECCF6A-8A94-A797-06D2-A91CA6E7FF66}"/>
          </ac:spMkLst>
        </pc:spChg>
        <pc:spChg chg="mod">
          <ac:chgData name="Elena Schumann" userId="qZZU22eU3yOHkylTBQYU3EHB5kkvFDLTvtrqjoWUfUM=" providerId="None" clId="Web-{9594FF1C-6863-41C0-B978-B90A22D02680}" dt="2026-04-15T15:43:46.672" v="131" actId="14100"/>
          <ac:spMkLst>
            <pc:docMk/>
            <pc:sldMk cId="1773330120" sldId="12579"/>
            <ac:spMk id="68" creationId="{3C210883-E4C6-AD08-821D-84265D71DF8F}"/>
          </ac:spMkLst>
        </pc:spChg>
        <pc:cxnChg chg="add del mod">
          <ac:chgData name="Elena Schumann" userId="qZZU22eU3yOHkylTBQYU3EHB5kkvFDLTvtrqjoWUfUM=" providerId="None" clId="Web-{9594FF1C-6863-41C0-B978-B90A22D02680}" dt="2026-04-15T15:44:31.205" v="134"/>
          <ac:cxnSpMkLst>
            <pc:docMk/>
            <pc:sldMk cId="1773330120" sldId="12579"/>
            <ac:cxnSpMk id="9" creationId="{AFFB5CBC-5C46-4583-984D-AA49908BEF00}"/>
          </ac:cxnSpMkLst>
        </pc:cxnChg>
      </pc:sldChg>
      <pc:sldChg chg="addSp modSp">
        <pc:chgData name="Elena Schumann" userId="qZZU22eU3yOHkylTBQYU3EHB5kkvFDLTvtrqjoWUfUM=" providerId="None" clId="Web-{9594FF1C-6863-41C0-B978-B90A22D02680}" dt="2026-04-15T16:01:51.343" v="416" actId="14100"/>
        <pc:sldMkLst>
          <pc:docMk/>
          <pc:sldMk cId="2582478086" sldId="12582"/>
        </pc:sldMkLst>
        <pc:spChg chg="mod">
          <ac:chgData name="Elena Schumann" userId="qZZU22eU3yOHkylTBQYU3EHB5kkvFDLTvtrqjoWUfUM=" providerId="None" clId="Web-{9594FF1C-6863-41C0-B978-B90A22D02680}" dt="2026-04-15T16:01:19.967" v="413" actId="20577"/>
          <ac:spMkLst>
            <pc:docMk/>
            <pc:sldMk cId="2582478086" sldId="12582"/>
            <ac:spMk id="3" creationId="{D53FC186-C8AE-933A-5C40-F21A5746ED6D}"/>
          </ac:spMkLst>
        </pc:spChg>
        <pc:spChg chg="mod">
          <ac:chgData name="Elena Schumann" userId="qZZU22eU3yOHkylTBQYU3EHB5kkvFDLTvtrqjoWUfUM=" providerId="None" clId="Web-{9594FF1C-6863-41C0-B978-B90A22D02680}" dt="2026-04-15T15:59:22.902" v="399" actId="1076"/>
          <ac:spMkLst>
            <pc:docMk/>
            <pc:sldMk cId="2582478086" sldId="12582"/>
            <ac:spMk id="8" creationId="{CA0CCCF6-CED5-2798-F2B9-78CDCF751E21}"/>
          </ac:spMkLst>
        </pc:spChg>
        <pc:spChg chg="mod">
          <ac:chgData name="Elena Schumann" userId="qZZU22eU3yOHkylTBQYU3EHB5kkvFDLTvtrqjoWUfUM=" providerId="None" clId="Web-{9594FF1C-6863-41C0-B978-B90A22D02680}" dt="2026-04-15T16:01:51.343" v="416" actId="14100"/>
          <ac:spMkLst>
            <pc:docMk/>
            <pc:sldMk cId="2582478086" sldId="12582"/>
            <ac:spMk id="15" creationId="{F4733958-CDCF-9247-B281-D72A374EDCC8}"/>
          </ac:spMkLst>
        </pc:spChg>
        <pc:spChg chg="mod">
          <ac:chgData name="Elena Schumann" userId="qZZU22eU3yOHkylTBQYU3EHB5kkvFDLTvtrqjoWUfUM=" providerId="None" clId="Web-{9594FF1C-6863-41C0-B978-B90A22D02680}" dt="2026-04-15T15:56:22.349" v="335" actId="1076"/>
          <ac:spMkLst>
            <pc:docMk/>
            <pc:sldMk cId="2582478086" sldId="12582"/>
            <ac:spMk id="31" creationId="{3F7B5138-7F9A-B8AD-A7F4-7BF2E996E4BB}"/>
          </ac:spMkLst>
        </pc:spChg>
        <pc:spChg chg="mod">
          <ac:chgData name="Elena Schumann" userId="qZZU22eU3yOHkylTBQYU3EHB5kkvFDLTvtrqjoWUfUM=" providerId="None" clId="Web-{9594FF1C-6863-41C0-B978-B90A22D02680}" dt="2026-04-15T16:00:33.810" v="407" actId="1076"/>
          <ac:spMkLst>
            <pc:docMk/>
            <pc:sldMk cId="2582478086" sldId="12582"/>
            <ac:spMk id="34" creationId="{553585B8-ED62-55D9-94DB-2F369E36EC63}"/>
          </ac:spMkLst>
        </pc:spChg>
        <pc:spChg chg="mod">
          <ac:chgData name="Elena Schumann" userId="qZZU22eU3yOHkylTBQYU3EHB5kkvFDLTvtrqjoWUfUM=" providerId="None" clId="Web-{9594FF1C-6863-41C0-B978-B90A22D02680}" dt="2026-04-15T15:59:30.746" v="401" actId="14100"/>
          <ac:spMkLst>
            <pc:docMk/>
            <pc:sldMk cId="2582478086" sldId="12582"/>
            <ac:spMk id="45" creationId="{B41613A1-6AD5-264F-F982-B5F98D3572C5}"/>
          </ac:spMkLst>
        </pc:spChg>
        <pc:spChg chg="mod">
          <ac:chgData name="Elena Schumann" userId="qZZU22eU3yOHkylTBQYU3EHB5kkvFDLTvtrqjoWUfUM=" providerId="None" clId="Web-{9594FF1C-6863-41C0-B978-B90A22D02680}" dt="2026-04-15T15:57:53.774" v="350" actId="1076"/>
          <ac:spMkLst>
            <pc:docMk/>
            <pc:sldMk cId="2582478086" sldId="12582"/>
            <ac:spMk id="63" creationId="{C3942E3A-B4BE-C5DD-5811-C766962795FF}"/>
          </ac:spMkLst>
        </pc:spChg>
        <pc:grpChg chg="mod">
          <ac:chgData name="Elena Schumann" userId="qZZU22eU3yOHkylTBQYU3EHB5kkvFDLTvtrqjoWUfUM=" providerId="None" clId="Web-{9594FF1C-6863-41C0-B978-B90A22D02680}" dt="2026-04-15T16:00:46.763" v="408" actId="1076"/>
          <ac:grpSpMkLst>
            <pc:docMk/>
            <pc:sldMk cId="2582478086" sldId="12582"/>
            <ac:grpSpMk id="7" creationId="{9145CBC5-2B2A-4EB1-E5FB-DA0ACAD78E15}"/>
          </ac:grpSpMkLst>
        </pc:grpChg>
        <pc:grpChg chg="mod">
          <ac:chgData name="Elena Schumann" userId="qZZU22eU3yOHkylTBQYU3EHB5kkvFDLTvtrqjoWUfUM=" providerId="None" clId="Web-{9594FF1C-6863-41C0-B978-B90A22D02680}" dt="2026-04-15T15:58:07.243" v="353" actId="1076"/>
          <ac:grpSpMkLst>
            <pc:docMk/>
            <pc:sldMk cId="2582478086" sldId="12582"/>
            <ac:grpSpMk id="12" creationId="{8FDDA2F4-51D1-9FF1-9720-FD0580BBEBF9}"/>
          </ac:grpSpMkLst>
        </pc:grpChg>
        <pc:grpChg chg="add mod">
          <ac:chgData name="Elena Schumann" userId="qZZU22eU3yOHkylTBQYU3EHB5kkvFDLTvtrqjoWUfUM=" providerId="None" clId="Web-{9594FF1C-6863-41C0-B978-B90A22D02680}" dt="2026-04-15T16:00:26.950" v="406" actId="1076"/>
          <ac:grpSpMkLst>
            <pc:docMk/>
            <pc:sldMk cId="2582478086" sldId="12582"/>
            <ac:grpSpMk id="25" creationId="{2CC1F064-998A-CF51-E452-0D1597C6F316}"/>
          </ac:grpSpMkLst>
        </pc:grpChg>
        <pc:grpChg chg="mod">
          <ac:chgData name="Elena Schumann" userId="qZZU22eU3yOHkylTBQYU3EHB5kkvFDLTvtrqjoWUfUM=" providerId="None" clId="Web-{9594FF1C-6863-41C0-B978-B90A22D02680}" dt="2026-04-15T15:57:04.272" v="345" actId="1076"/>
          <ac:grpSpMkLst>
            <pc:docMk/>
            <pc:sldMk cId="2582478086" sldId="12582"/>
            <ac:grpSpMk id="46" creationId="{D7A72ED7-A223-0D51-D5E0-D2B9E736F090}"/>
          </ac:grpSpMkLst>
        </pc:grpChg>
        <pc:grpChg chg="mod">
          <ac:chgData name="Elena Schumann" userId="qZZU22eU3yOHkylTBQYU3EHB5kkvFDLTvtrqjoWUfUM=" providerId="None" clId="Web-{9594FF1C-6863-41C0-B978-B90A22D02680}" dt="2026-04-15T15:57:57.040" v="351" actId="1076"/>
          <ac:grpSpMkLst>
            <pc:docMk/>
            <pc:sldMk cId="2582478086" sldId="12582"/>
            <ac:grpSpMk id="97" creationId="{3C770214-B2B8-BD5B-4D85-181AE1AB5559}"/>
          </ac:grpSpMkLst>
        </pc:grpChg>
        <pc:picChg chg="mod">
          <ac:chgData name="Elena Schumann" userId="qZZU22eU3yOHkylTBQYU3EHB5kkvFDLTvtrqjoWUfUM=" providerId="None" clId="Web-{9594FF1C-6863-41C0-B978-B90A22D02680}" dt="2026-04-15T15:58:10.978" v="354" actId="1076"/>
          <ac:picMkLst>
            <pc:docMk/>
            <pc:sldMk cId="2582478086" sldId="12582"/>
            <ac:picMk id="44" creationId="{4DE5CEE8-79CC-A0B8-D923-48CAD41B1CF6}"/>
          </ac:picMkLst>
        </pc:picChg>
      </pc:sldChg>
      <pc:sldChg chg="modSp modCm">
        <pc:chgData name="Elena Schumann" userId="qZZU22eU3yOHkylTBQYU3EHB5kkvFDLTvtrqjoWUfUM=" providerId="None" clId="Web-{9594FF1C-6863-41C0-B978-B90A22D02680}" dt="2026-04-15T16:04:18.907" v="428" actId="20577"/>
        <pc:sldMkLst>
          <pc:docMk/>
          <pc:sldMk cId="2994107730" sldId="12583"/>
        </pc:sldMkLst>
        <pc:spChg chg="mod">
          <ac:chgData name="Elena Schumann" userId="qZZU22eU3yOHkylTBQYU3EHB5kkvFDLTvtrqjoWUfUM=" providerId="None" clId="Web-{9594FF1C-6863-41C0-B978-B90A22D02680}" dt="2026-04-15T16:01:23.998" v="414" actId="20577"/>
          <ac:spMkLst>
            <pc:docMk/>
            <pc:sldMk cId="2994107730" sldId="12583"/>
            <ac:spMk id="3" creationId="{D065F8D1-60A5-2D97-EBC0-49684F0EBAAB}"/>
          </ac:spMkLst>
        </pc:spChg>
        <pc:spChg chg="mod">
          <ac:chgData name="Elena Schumann" userId="qZZU22eU3yOHkylTBQYU3EHB5kkvFDLTvtrqjoWUfUM=" providerId="None" clId="Web-{9594FF1C-6863-41C0-B978-B90A22D02680}" dt="2026-04-15T15:52:48.244" v="292" actId="20577"/>
          <ac:spMkLst>
            <pc:docMk/>
            <pc:sldMk cId="2994107730" sldId="12583"/>
            <ac:spMk id="6" creationId="{E8765A8D-AE2E-5F15-6467-3EE2A8E10427}"/>
          </ac:spMkLst>
        </pc:spChg>
        <pc:spChg chg="mod">
          <ac:chgData name="Elena Schumann" userId="qZZU22eU3yOHkylTBQYU3EHB5kkvFDLTvtrqjoWUfUM=" providerId="None" clId="Web-{9594FF1C-6863-41C0-B978-B90A22D02680}" dt="2026-04-15T15:52:18.884" v="281" actId="1076"/>
          <ac:spMkLst>
            <pc:docMk/>
            <pc:sldMk cId="2994107730" sldId="12583"/>
            <ac:spMk id="9" creationId="{D402F355-169E-665D-7BBF-B5283CB70A45}"/>
          </ac:spMkLst>
        </pc:spChg>
        <pc:spChg chg="mod">
          <ac:chgData name="Elena Schumann" userId="qZZU22eU3yOHkylTBQYU3EHB5kkvFDLTvtrqjoWUfUM=" providerId="None" clId="Web-{9594FF1C-6863-41C0-B978-B90A22D02680}" dt="2026-04-15T15:54:50.906" v="330"/>
          <ac:spMkLst>
            <pc:docMk/>
            <pc:sldMk cId="2994107730" sldId="12583"/>
            <ac:spMk id="12" creationId="{4E646CDF-1F1F-94FB-E3E4-FF31855BB058}"/>
          </ac:spMkLst>
        </pc:spChg>
        <pc:spChg chg="mod">
          <ac:chgData name="Elena Schumann" userId="qZZU22eU3yOHkylTBQYU3EHB5kkvFDLTvtrqjoWUfUM=" providerId="None" clId="Web-{9594FF1C-6863-41C0-B978-B90A22D02680}" dt="2026-04-15T16:04:18.907" v="428" actId="20577"/>
          <ac:spMkLst>
            <pc:docMk/>
            <pc:sldMk cId="2994107730" sldId="12583"/>
            <ac:spMk id="17" creationId="{420A86E5-28BA-3218-D5FD-FF6A0EB34D43}"/>
          </ac:spMkLst>
        </pc:spChg>
        <pc:spChg chg="mod">
          <ac:chgData name="Elena Schumann" userId="qZZU22eU3yOHkylTBQYU3EHB5kkvFDLTvtrqjoWUfUM=" providerId="None" clId="Web-{9594FF1C-6863-41C0-B978-B90A22D02680}" dt="2026-04-15T15:50:33.523" v="170" actId="20577"/>
          <ac:spMkLst>
            <pc:docMk/>
            <pc:sldMk cId="2994107730" sldId="12583"/>
            <ac:spMk id="31" creationId="{A6399F54-0610-0FB2-14DF-6ADE4326E29D}"/>
          </ac:spMkLst>
        </pc:spChg>
        <pc:extLst>
          <p:ext xmlns:p="http://schemas.openxmlformats.org/presentationml/2006/main" uri="{D6D511B9-2390-475A-947B-AFAB55BFBCF1}">
            <pc226:cmChg xmlns:pc226="http://schemas.microsoft.com/office/powerpoint/2022/06/main/command" chg="mod">
              <pc226:chgData name="Elena Schumann" userId="qZZU22eU3yOHkylTBQYU3EHB5kkvFDLTvtrqjoWUfUM=" providerId="None" clId="Web-{9594FF1C-6863-41C0-B978-B90A22D02680}" dt="2026-04-15T15:51:59.087" v="277" actId="20577"/>
              <pc2:cmMkLst xmlns:pc2="http://schemas.microsoft.com/office/powerpoint/2019/9/main/command">
                <pc:docMk/>
                <pc:sldMk cId="2994107730" sldId="12583"/>
                <pc2:cmMk id="{AD8C134B-CEA4-4A76-A0C7-CBE1F3BF08D6}"/>
              </pc2:cmMkLst>
            </pc226:cmChg>
            <pc226:cmChg xmlns:pc226="http://schemas.microsoft.com/office/powerpoint/2022/06/main/command" chg="mod">
              <pc226:chgData name="Elena Schumann" userId="qZZU22eU3yOHkylTBQYU3EHB5kkvFDLTvtrqjoWUfUM=" providerId="None" clId="Web-{9594FF1C-6863-41C0-B978-B90A22D02680}" dt="2026-04-15T15:49:35.694" v="151" actId="20577"/>
              <pc2:cmMkLst xmlns:pc2="http://schemas.microsoft.com/office/powerpoint/2019/9/main/command">
                <pc:docMk/>
                <pc:sldMk cId="2994107730" sldId="12583"/>
                <pc2:cmMk id="{EBE5DE50-EAD3-4D4D-AF5D-44064D824F64}"/>
              </pc2:cmMkLst>
            </pc226:cmChg>
          </p:ext>
        </pc:extLst>
      </pc:sldChg>
      <pc:sldChg chg="modSp ord">
        <pc:chgData name="Elena Schumann" userId="qZZU22eU3yOHkylTBQYU3EHB5kkvFDLTvtrqjoWUfUM=" providerId="None" clId="Web-{9594FF1C-6863-41C0-B978-B90A22D02680}" dt="2026-04-15T16:00:57.451" v="409" actId="20577"/>
        <pc:sldMkLst>
          <pc:docMk/>
          <pc:sldMk cId="821924550" sldId="12586"/>
        </pc:sldMkLst>
        <pc:spChg chg="mod">
          <ac:chgData name="Elena Schumann" userId="qZZU22eU3yOHkylTBQYU3EHB5kkvFDLTvtrqjoWUfUM=" providerId="None" clId="Web-{9594FF1C-6863-41C0-B978-B90A22D02680}" dt="2026-04-15T15:42:45.390" v="130" actId="20577"/>
          <ac:spMkLst>
            <pc:docMk/>
            <pc:sldMk cId="821924550" sldId="12586"/>
            <ac:spMk id="3" creationId="{D6EABE22-7D33-CAB0-2B75-FCE6467293F0}"/>
          </ac:spMkLst>
        </pc:spChg>
        <pc:spChg chg="mod">
          <ac:chgData name="Elena Schumann" userId="qZZU22eU3yOHkylTBQYU3EHB5kkvFDLTvtrqjoWUfUM=" providerId="None" clId="Web-{9594FF1C-6863-41C0-B978-B90A22D02680}" dt="2026-04-15T16:00:57.451" v="409" actId="20577"/>
          <ac:spMkLst>
            <pc:docMk/>
            <pc:sldMk cId="821924550" sldId="12586"/>
            <ac:spMk id="5" creationId="{E5C1A3A0-9C98-90AC-7574-7A7F000A781C}"/>
          </ac:spMkLst>
        </pc:spChg>
        <pc:spChg chg="mod">
          <ac:chgData name="Elena Schumann" userId="qZZU22eU3yOHkylTBQYU3EHB5kkvFDLTvtrqjoWUfUM=" providerId="None" clId="Web-{9594FF1C-6863-41C0-B978-B90A22D02680}" dt="2026-04-15T15:38:38.051" v="108" actId="20577"/>
          <ac:spMkLst>
            <pc:docMk/>
            <pc:sldMk cId="821924550" sldId="12586"/>
            <ac:spMk id="8" creationId="{C77818E2-C4D0-F084-F6C1-062DEE72C5DD}"/>
          </ac:spMkLst>
        </pc:spChg>
      </pc:sldChg>
    </pc:docChg>
  </pc:docChgLst>
  <pc:docChgLst>
    <pc:chgData name="Bogoljub Ilievski" userId="k1V2fvaDk1DjFl7dKjnGWoP6BqsJV2r5hBk9WLxPo/w=" providerId="None" clId="Web-{9D1B34C2-9F3F-44D2-99E9-D0C93B1E129A}"/>
    <pc:docChg chg="addSld delSld modSld">
      <pc:chgData name="Bogoljub Ilievski" userId="k1V2fvaDk1DjFl7dKjnGWoP6BqsJV2r5hBk9WLxPo/w=" providerId="None" clId="Web-{9D1B34C2-9F3F-44D2-99E9-D0C93B1E129A}" dt="2026-04-15T21:27:34.891" v="266" actId="1076"/>
      <pc:docMkLst>
        <pc:docMk/>
      </pc:docMkLst>
      <pc:sldChg chg="delSp modSp modCm">
        <pc:chgData name="Bogoljub Ilievski" userId="k1V2fvaDk1DjFl7dKjnGWoP6BqsJV2r5hBk9WLxPo/w=" providerId="None" clId="Web-{9D1B34C2-9F3F-44D2-99E9-D0C93B1E129A}" dt="2026-04-15T20:34:59.349" v="137" actId="14100"/>
        <pc:sldMkLst>
          <pc:docMk/>
          <pc:sldMk cId="1679035307" sldId="12415"/>
        </pc:sldMkLst>
        <pc:spChg chg="mod">
          <ac:chgData name="Bogoljub Ilievski" userId="k1V2fvaDk1DjFl7dKjnGWoP6BqsJV2r5hBk9WLxPo/w=" providerId="None" clId="Web-{9D1B34C2-9F3F-44D2-99E9-D0C93B1E129A}" dt="2026-04-15T20:33:11.099" v="108" actId="20577"/>
          <ac:spMkLst>
            <pc:docMk/>
            <pc:sldMk cId="1679035307" sldId="12415"/>
            <ac:spMk id="2" creationId="{B8B2B151-A295-93C2-B733-F30B6D4A8939}"/>
          </ac:spMkLst>
        </pc:spChg>
        <pc:spChg chg="mod">
          <ac:chgData name="Bogoljub Ilievski" userId="k1V2fvaDk1DjFl7dKjnGWoP6BqsJV2r5hBk9WLxPo/w=" providerId="None" clId="Web-{9D1B34C2-9F3F-44D2-99E9-D0C93B1E129A}" dt="2026-04-15T20:34:35.818" v="136" actId="20577"/>
          <ac:spMkLst>
            <pc:docMk/>
            <pc:sldMk cId="1679035307" sldId="12415"/>
            <ac:spMk id="14" creationId="{E24BB2DD-1FCF-14C4-1798-5076AF6973F4}"/>
          </ac:spMkLst>
        </pc:spChg>
        <pc:spChg chg="del">
          <ac:chgData name="Bogoljub Ilievski" userId="k1V2fvaDk1DjFl7dKjnGWoP6BqsJV2r5hBk9WLxPo/w=" providerId="None" clId="Web-{9D1B34C2-9F3F-44D2-99E9-D0C93B1E129A}" dt="2026-04-15T20:10:56.432" v="1"/>
          <ac:spMkLst>
            <pc:docMk/>
            <pc:sldMk cId="1679035307" sldId="12415"/>
            <ac:spMk id="33" creationId="{A91E6B5F-DD55-C08D-462C-8FC967903680}"/>
          </ac:spMkLst>
        </pc:spChg>
        <pc:spChg chg="del">
          <ac:chgData name="Bogoljub Ilievski" userId="k1V2fvaDk1DjFl7dKjnGWoP6BqsJV2r5hBk9WLxPo/w=" providerId="None" clId="Web-{9D1B34C2-9F3F-44D2-99E9-D0C93B1E129A}" dt="2026-04-15T20:11:15.619" v="4"/>
          <ac:spMkLst>
            <pc:docMk/>
            <pc:sldMk cId="1679035307" sldId="12415"/>
            <ac:spMk id="34" creationId="{5133F4E9-8AC2-E763-E5D9-FF5B37C3C04A}"/>
          </ac:spMkLst>
        </pc:spChg>
        <pc:spChg chg="del">
          <ac:chgData name="Bogoljub Ilievski" userId="k1V2fvaDk1DjFl7dKjnGWoP6BqsJV2r5hBk9WLxPo/w=" providerId="None" clId="Web-{9D1B34C2-9F3F-44D2-99E9-D0C93B1E129A}" dt="2026-04-15T20:11:00.119" v="2"/>
          <ac:spMkLst>
            <pc:docMk/>
            <pc:sldMk cId="1679035307" sldId="12415"/>
            <ac:spMk id="35" creationId="{BB83E4BC-3B3B-2566-0F9F-F9BD5CD26061}"/>
          </ac:spMkLst>
        </pc:spChg>
        <pc:grpChg chg="del">
          <ac:chgData name="Bogoljub Ilievski" userId="k1V2fvaDk1DjFl7dKjnGWoP6BqsJV2r5hBk9WLxPo/w=" providerId="None" clId="Web-{9D1B34C2-9F3F-44D2-99E9-D0C93B1E129A}" dt="2026-04-15T20:11:23.260" v="5"/>
          <ac:grpSpMkLst>
            <pc:docMk/>
            <pc:sldMk cId="1679035307" sldId="12415"/>
            <ac:grpSpMk id="29" creationId="{1F0EADA3-D7CC-C10A-2D15-2FDC09308659}"/>
          </ac:grpSpMkLst>
        </pc:grpChg>
        <pc:grpChg chg="del">
          <ac:chgData name="Bogoljub Ilievski" userId="k1V2fvaDk1DjFl7dKjnGWoP6BqsJV2r5hBk9WLxPo/w=" providerId="None" clId="Web-{9D1B34C2-9F3F-44D2-99E9-D0C93B1E129A}" dt="2026-04-15T20:10:52.760" v="0"/>
          <ac:grpSpMkLst>
            <pc:docMk/>
            <pc:sldMk cId="1679035307" sldId="12415"/>
            <ac:grpSpMk id="52" creationId="{3B1B4E18-AE89-9879-4583-59B1FBCCE182}"/>
          </ac:grpSpMkLst>
        </pc:grpChg>
        <pc:grpChg chg="mod">
          <ac:chgData name="Bogoljub Ilievski" userId="k1V2fvaDk1DjFl7dKjnGWoP6BqsJV2r5hBk9WLxPo/w=" providerId="None" clId="Web-{9D1B34C2-9F3F-44D2-99E9-D0C93B1E129A}" dt="2026-04-15T20:34:59.349" v="137" actId="14100"/>
          <ac:grpSpMkLst>
            <pc:docMk/>
            <pc:sldMk cId="1679035307" sldId="12415"/>
            <ac:grpSpMk id="53" creationId="{0961B3BC-BE98-F4F1-ED54-99749A5E7C59}"/>
          </ac:grpSpMkLst>
        </pc:grpChg>
        <pc:cxnChg chg="del mod">
          <ac:chgData name="Bogoljub Ilievski" userId="k1V2fvaDk1DjFl7dKjnGWoP6BqsJV2r5hBk9WLxPo/w=" providerId="None" clId="Web-{9D1B34C2-9F3F-44D2-99E9-D0C93B1E129A}" dt="2026-04-15T20:11:10.416" v="3"/>
          <ac:cxnSpMkLst>
            <pc:docMk/>
            <pc:sldMk cId="1679035307" sldId="12415"/>
            <ac:cxnSpMk id="36" creationId="{D032F2B8-8B1B-4746-ED7C-181DA2C32F3B}"/>
          </ac:cxnSpMkLst>
        </pc:cxnChg>
        <pc:extLst>
          <p:ext xmlns:p="http://schemas.openxmlformats.org/presentationml/2006/main" uri="{D6D511B9-2390-475A-947B-AFAB55BFBCF1}">
            <pc226:cmChg xmlns:pc226="http://schemas.microsoft.com/office/powerpoint/2022/06/main/command" chg="mod">
              <pc226:chgData name="Bogoljub Ilievski" userId="k1V2fvaDk1DjFl7dKjnGWoP6BqsJV2r5hBk9WLxPo/w=" providerId="None" clId="Web-{9D1B34C2-9F3F-44D2-99E9-D0C93B1E129A}" dt="2026-04-15T20:33:11.099" v="108" actId="20577"/>
              <pc2:cmMkLst xmlns:pc2="http://schemas.microsoft.com/office/powerpoint/2019/9/main/command">
                <pc:docMk/>
                <pc:sldMk cId="1679035307" sldId="12415"/>
                <pc2:cmMk id="{61CC5E98-ADAA-4561-94CC-AE6C0A5B643F}"/>
              </pc2:cmMkLst>
            </pc226:cmChg>
            <pc226:cmChg xmlns:pc226="http://schemas.microsoft.com/office/powerpoint/2022/06/main/command" chg="mod">
              <pc226:chgData name="Bogoljub Ilievski" userId="k1V2fvaDk1DjFl7dKjnGWoP6BqsJV2r5hBk9WLxPo/w=" providerId="None" clId="Web-{9D1B34C2-9F3F-44D2-99E9-D0C93B1E129A}" dt="2026-04-15T20:34:25.005" v="135" actId="20577"/>
              <pc2:cmMkLst xmlns:pc2="http://schemas.microsoft.com/office/powerpoint/2019/9/main/command">
                <pc:docMk/>
                <pc:sldMk cId="1679035307" sldId="12415"/>
                <pc2:cmMk id="{301CDBCA-39BA-4C4B-8E66-57F2BE58A741}"/>
              </pc2:cmMkLst>
            </pc226:cmChg>
          </p:ext>
        </pc:extLst>
      </pc:sldChg>
      <pc:sldChg chg="addSp modSp">
        <pc:chgData name="Bogoljub Ilievski" userId="k1V2fvaDk1DjFl7dKjnGWoP6BqsJV2r5hBk9WLxPo/w=" providerId="None" clId="Web-{9D1B34C2-9F3F-44D2-99E9-D0C93B1E129A}" dt="2026-04-15T20:31:55.069" v="96" actId="1076"/>
        <pc:sldMkLst>
          <pc:docMk/>
          <pc:sldMk cId="2410946401" sldId="12550"/>
        </pc:sldMkLst>
        <pc:spChg chg="add mod">
          <ac:chgData name="Bogoljub Ilievski" userId="k1V2fvaDk1DjFl7dKjnGWoP6BqsJV2r5hBk9WLxPo/w=" providerId="None" clId="Web-{9D1B34C2-9F3F-44D2-99E9-D0C93B1E129A}" dt="2026-04-15T20:31:55.069" v="96" actId="1076"/>
          <ac:spMkLst>
            <pc:docMk/>
            <pc:sldMk cId="2410946401" sldId="12550"/>
            <ac:spMk id="9" creationId="{3CA20CAC-E67E-02D1-AE5B-D7C5676FF96E}"/>
          </ac:spMkLst>
        </pc:spChg>
      </pc:sldChg>
      <pc:sldChg chg="addSp delSp modSp">
        <pc:chgData name="Bogoljub Ilievski" userId="k1V2fvaDk1DjFl7dKjnGWoP6BqsJV2r5hBk9WLxPo/w=" providerId="None" clId="Web-{9D1B34C2-9F3F-44D2-99E9-D0C93B1E129A}" dt="2026-04-15T21:22:16.987" v="257"/>
        <pc:sldMkLst>
          <pc:docMk/>
          <pc:sldMk cId="1773330120" sldId="12579"/>
        </pc:sldMkLst>
        <pc:spChg chg="del">
          <ac:chgData name="Bogoljub Ilievski" userId="k1V2fvaDk1DjFl7dKjnGWoP6BqsJV2r5hBk9WLxPo/w=" providerId="None" clId="Web-{9D1B34C2-9F3F-44D2-99E9-D0C93B1E129A}" dt="2026-04-15T21:21:51.487" v="255"/>
          <ac:spMkLst>
            <pc:docMk/>
            <pc:sldMk cId="1773330120" sldId="12579"/>
            <ac:spMk id="3" creationId="{D1AA54A2-C45D-76CA-DE21-C69AAABE3220}"/>
          </ac:spMkLst>
        </pc:spChg>
        <pc:spChg chg="del">
          <ac:chgData name="Bogoljub Ilievski" userId="k1V2fvaDk1DjFl7dKjnGWoP6BqsJV2r5hBk9WLxPo/w=" providerId="None" clId="Web-{9D1B34C2-9F3F-44D2-99E9-D0C93B1E129A}" dt="2026-04-15T21:21:51.487" v="254"/>
          <ac:spMkLst>
            <pc:docMk/>
            <pc:sldMk cId="1773330120" sldId="12579"/>
            <ac:spMk id="7" creationId="{BFA5488F-A184-E145-CEA3-F038B05D512F}"/>
          </ac:spMkLst>
        </pc:spChg>
        <pc:spChg chg="del topLvl">
          <ac:chgData name="Bogoljub Ilievski" userId="k1V2fvaDk1DjFl7dKjnGWoP6BqsJV2r5hBk9WLxPo/w=" providerId="None" clId="Web-{9D1B34C2-9F3F-44D2-99E9-D0C93B1E129A}" dt="2026-04-15T21:21:51.487" v="229"/>
          <ac:spMkLst>
            <pc:docMk/>
            <pc:sldMk cId="1773330120" sldId="12579"/>
            <ac:spMk id="10" creationId="{2F5553D6-6FAF-0C38-ED27-99B0DE9432AC}"/>
          </ac:spMkLst>
        </pc:spChg>
        <pc:spChg chg="del">
          <ac:chgData name="Bogoljub Ilievski" userId="k1V2fvaDk1DjFl7dKjnGWoP6BqsJV2r5hBk9WLxPo/w=" providerId="None" clId="Web-{9D1B34C2-9F3F-44D2-99E9-D0C93B1E129A}" dt="2026-04-15T21:21:43.690" v="219"/>
          <ac:spMkLst>
            <pc:docMk/>
            <pc:sldMk cId="1773330120" sldId="12579"/>
            <ac:spMk id="12" creationId="{93B061E5-4FE4-7740-13E1-B3072497AB03}"/>
          </ac:spMkLst>
        </pc:spChg>
        <pc:spChg chg="del topLvl">
          <ac:chgData name="Bogoljub Ilievski" userId="k1V2fvaDk1DjFl7dKjnGWoP6BqsJV2r5hBk9WLxPo/w=" providerId="None" clId="Web-{9D1B34C2-9F3F-44D2-99E9-D0C93B1E129A}" dt="2026-04-15T21:21:51.487" v="228"/>
          <ac:spMkLst>
            <pc:docMk/>
            <pc:sldMk cId="1773330120" sldId="12579"/>
            <ac:spMk id="13" creationId="{3209E1ED-7B00-15ED-6D42-B139A7D33399}"/>
          </ac:spMkLst>
        </pc:spChg>
        <pc:spChg chg="del">
          <ac:chgData name="Bogoljub Ilievski" userId="k1V2fvaDk1DjFl7dKjnGWoP6BqsJV2r5hBk9WLxPo/w=" providerId="None" clId="Web-{9D1B34C2-9F3F-44D2-99E9-D0C93B1E129A}" dt="2026-04-15T21:21:51.487" v="227"/>
          <ac:spMkLst>
            <pc:docMk/>
            <pc:sldMk cId="1773330120" sldId="12579"/>
            <ac:spMk id="14" creationId="{8C99EE69-7AC5-3359-0D55-1AA0C26CAEED}"/>
          </ac:spMkLst>
        </pc:spChg>
        <pc:spChg chg="del topLvl">
          <ac:chgData name="Bogoljub Ilievski" userId="k1V2fvaDk1DjFl7dKjnGWoP6BqsJV2r5hBk9WLxPo/w=" providerId="None" clId="Web-{9D1B34C2-9F3F-44D2-99E9-D0C93B1E129A}" dt="2026-04-15T21:21:51.487" v="241"/>
          <ac:spMkLst>
            <pc:docMk/>
            <pc:sldMk cId="1773330120" sldId="12579"/>
            <ac:spMk id="15" creationId="{4D7CCB64-862F-6E1B-49F9-A1A5874A7ACF}"/>
          </ac:spMkLst>
        </pc:spChg>
        <pc:spChg chg="del topLvl">
          <ac:chgData name="Bogoljub Ilievski" userId="k1V2fvaDk1DjFl7dKjnGWoP6BqsJV2r5hBk9WLxPo/w=" providerId="None" clId="Web-{9D1B34C2-9F3F-44D2-99E9-D0C93B1E129A}" dt="2026-04-15T21:21:51.487" v="240"/>
          <ac:spMkLst>
            <pc:docMk/>
            <pc:sldMk cId="1773330120" sldId="12579"/>
            <ac:spMk id="25" creationId="{27130515-F302-79DD-5FF7-F7195A670111}"/>
          </ac:spMkLst>
        </pc:spChg>
        <pc:spChg chg="del topLvl">
          <ac:chgData name="Bogoljub Ilievski" userId="k1V2fvaDk1DjFl7dKjnGWoP6BqsJV2r5hBk9WLxPo/w=" providerId="None" clId="Web-{9D1B34C2-9F3F-44D2-99E9-D0C93B1E129A}" dt="2026-04-15T21:21:51.487" v="249"/>
          <ac:spMkLst>
            <pc:docMk/>
            <pc:sldMk cId="1773330120" sldId="12579"/>
            <ac:spMk id="29" creationId="{43972545-59F3-8EB0-EA0B-916C8A2E5B0F}"/>
          </ac:spMkLst>
        </pc:spChg>
        <pc:spChg chg="del topLvl">
          <ac:chgData name="Bogoljub Ilievski" userId="k1V2fvaDk1DjFl7dKjnGWoP6BqsJV2r5hBk9WLxPo/w=" providerId="None" clId="Web-{9D1B34C2-9F3F-44D2-99E9-D0C93B1E129A}" dt="2026-04-15T21:21:51.487" v="248"/>
          <ac:spMkLst>
            <pc:docMk/>
            <pc:sldMk cId="1773330120" sldId="12579"/>
            <ac:spMk id="30" creationId="{7E9EF104-C224-6F9D-5A6B-3F908B1BD6FF}"/>
          </ac:spMkLst>
        </pc:spChg>
        <pc:spChg chg="del topLvl">
          <ac:chgData name="Bogoljub Ilievski" userId="k1V2fvaDk1DjFl7dKjnGWoP6BqsJV2r5hBk9WLxPo/w=" providerId="None" clId="Web-{9D1B34C2-9F3F-44D2-99E9-D0C93B1E129A}" dt="2026-04-15T21:21:51.487" v="247"/>
          <ac:spMkLst>
            <pc:docMk/>
            <pc:sldMk cId="1773330120" sldId="12579"/>
            <ac:spMk id="31" creationId="{E7E0A763-F99B-FFC4-9E1D-F6AFF8C33096}"/>
          </ac:spMkLst>
        </pc:spChg>
        <pc:spChg chg="del topLvl">
          <ac:chgData name="Bogoljub Ilievski" userId="k1V2fvaDk1DjFl7dKjnGWoP6BqsJV2r5hBk9WLxPo/w=" providerId="None" clId="Web-{9D1B34C2-9F3F-44D2-99E9-D0C93B1E129A}" dt="2026-04-15T21:21:51.487" v="246"/>
          <ac:spMkLst>
            <pc:docMk/>
            <pc:sldMk cId="1773330120" sldId="12579"/>
            <ac:spMk id="32" creationId="{943F5CC0-14C3-B2EA-777A-632BAAE446A4}"/>
          </ac:spMkLst>
        </pc:spChg>
        <pc:spChg chg="del topLvl">
          <ac:chgData name="Bogoljub Ilievski" userId="k1V2fvaDk1DjFl7dKjnGWoP6BqsJV2r5hBk9WLxPo/w=" providerId="None" clId="Web-{9D1B34C2-9F3F-44D2-99E9-D0C93B1E129A}" dt="2026-04-15T21:21:51.487" v="245"/>
          <ac:spMkLst>
            <pc:docMk/>
            <pc:sldMk cId="1773330120" sldId="12579"/>
            <ac:spMk id="33" creationId="{08654D0C-8A05-2D87-0429-82582219B09A}"/>
          </ac:spMkLst>
        </pc:spChg>
        <pc:spChg chg="del">
          <ac:chgData name="Bogoljub Ilievski" userId="k1V2fvaDk1DjFl7dKjnGWoP6BqsJV2r5hBk9WLxPo/w=" providerId="None" clId="Web-{9D1B34C2-9F3F-44D2-99E9-D0C93B1E129A}" dt="2026-04-15T21:21:51.487" v="242"/>
          <ac:spMkLst>
            <pc:docMk/>
            <pc:sldMk cId="1773330120" sldId="12579"/>
            <ac:spMk id="42" creationId="{6B276868-27F9-42B5-ADDB-C6672A509E00}"/>
          </ac:spMkLst>
        </pc:spChg>
        <pc:spChg chg="del topLvl">
          <ac:chgData name="Bogoljub Ilievski" userId="k1V2fvaDk1DjFl7dKjnGWoP6BqsJV2r5hBk9WLxPo/w=" providerId="None" clId="Web-{9D1B34C2-9F3F-44D2-99E9-D0C93B1E129A}" dt="2026-04-15T21:21:51.487" v="224"/>
          <ac:spMkLst>
            <pc:docMk/>
            <pc:sldMk cId="1773330120" sldId="12579"/>
            <ac:spMk id="45" creationId="{AFC94105-61BE-08D4-2A8A-36D51CEAD9E7}"/>
          </ac:spMkLst>
        </pc:spChg>
        <pc:spChg chg="del topLvl">
          <ac:chgData name="Bogoljub Ilievski" userId="k1V2fvaDk1DjFl7dKjnGWoP6BqsJV2r5hBk9WLxPo/w=" providerId="None" clId="Web-{9D1B34C2-9F3F-44D2-99E9-D0C93B1E129A}" dt="2026-04-15T21:21:51.487" v="223"/>
          <ac:spMkLst>
            <pc:docMk/>
            <pc:sldMk cId="1773330120" sldId="12579"/>
            <ac:spMk id="46" creationId="{6F3CDF98-F54A-CED5-7A09-966E2B61FD71}"/>
          </ac:spMkLst>
        </pc:spChg>
        <pc:spChg chg="del">
          <ac:chgData name="Bogoljub Ilievski" userId="k1V2fvaDk1DjFl7dKjnGWoP6BqsJV2r5hBk9WLxPo/w=" providerId="None" clId="Web-{9D1B34C2-9F3F-44D2-99E9-D0C93B1E129A}" dt="2026-04-15T21:21:51.487" v="226"/>
          <ac:spMkLst>
            <pc:docMk/>
            <pc:sldMk cId="1773330120" sldId="12579"/>
            <ac:spMk id="50" creationId="{795FDD38-DB65-E93B-AD5F-A08DA805C096}"/>
          </ac:spMkLst>
        </pc:spChg>
        <pc:spChg chg="del topLvl">
          <ac:chgData name="Bogoljub Ilievski" userId="k1V2fvaDk1DjFl7dKjnGWoP6BqsJV2r5hBk9WLxPo/w=" providerId="None" clId="Web-{9D1B34C2-9F3F-44D2-99E9-D0C93B1E129A}" dt="2026-04-15T21:21:51.487" v="234"/>
          <ac:spMkLst>
            <pc:docMk/>
            <pc:sldMk cId="1773330120" sldId="12579"/>
            <ac:spMk id="51" creationId="{EA832644-AECF-6D85-76E9-40B692D09731}"/>
          </ac:spMkLst>
        </pc:spChg>
        <pc:spChg chg="del topLvl">
          <ac:chgData name="Bogoljub Ilievski" userId="k1V2fvaDk1DjFl7dKjnGWoP6BqsJV2r5hBk9WLxPo/w=" providerId="None" clId="Web-{9D1B34C2-9F3F-44D2-99E9-D0C93B1E129A}" dt="2026-04-15T21:21:51.487" v="233"/>
          <ac:spMkLst>
            <pc:docMk/>
            <pc:sldMk cId="1773330120" sldId="12579"/>
            <ac:spMk id="52" creationId="{AD76129D-924C-67C5-ABFB-571F6F0C2817}"/>
          </ac:spMkLst>
        </pc:spChg>
        <pc:spChg chg="del topLvl">
          <ac:chgData name="Bogoljub Ilievski" userId="k1V2fvaDk1DjFl7dKjnGWoP6BqsJV2r5hBk9WLxPo/w=" providerId="None" clId="Web-{9D1B34C2-9F3F-44D2-99E9-D0C93B1E129A}" dt="2026-04-15T21:21:51.487" v="232"/>
          <ac:spMkLst>
            <pc:docMk/>
            <pc:sldMk cId="1773330120" sldId="12579"/>
            <ac:spMk id="53" creationId="{336F063F-9805-D1E5-4F1B-0EA6149D2EEC}"/>
          </ac:spMkLst>
        </pc:spChg>
        <pc:spChg chg="del topLvl">
          <ac:chgData name="Bogoljub Ilievski" userId="k1V2fvaDk1DjFl7dKjnGWoP6BqsJV2r5hBk9WLxPo/w=" providerId="None" clId="Web-{9D1B34C2-9F3F-44D2-99E9-D0C93B1E129A}" dt="2026-04-15T21:21:51.487" v="231"/>
          <ac:spMkLst>
            <pc:docMk/>
            <pc:sldMk cId="1773330120" sldId="12579"/>
            <ac:spMk id="54" creationId="{BA0C05A3-3BDB-B316-2116-62405EA1F276}"/>
          </ac:spMkLst>
        </pc:spChg>
        <pc:spChg chg="del topLvl">
          <ac:chgData name="Bogoljub Ilievski" userId="k1V2fvaDk1DjFl7dKjnGWoP6BqsJV2r5hBk9WLxPo/w=" providerId="None" clId="Web-{9D1B34C2-9F3F-44D2-99E9-D0C93B1E129A}" dt="2026-04-15T21:21:51.487" v="230"/>
          <ac:spMkLst>
            <pc:docMk/>
            <pc:sldMk cId="1773330120" sldId="12579"/>
            <ac:spMk id="55" creationId="{93ECD7ED-43C0-66F4-7678-D89CF9CFF9F4}"/>
          </ac:spMkLst>
        </pc:spChg>
        <pc:spChg chg="del topLvl">
          <ac:chgData name="Bogoljub Ilievski" userId="k1V2fvaDk1DjFl7dKjnGWoP6BqsJV2r5hBk9WLxPo/w=" providerId="None" clId="Web-{9D1B34C2-9F3F-44D2-99E9-D0C93B1E129A}" dt="2026-04-15T21:21:51.487" v="253"/>
          <ac:spMkLst>
            <pc:docMk/>
            <pc:sldMk cId="1773330120" sldId="12579"/>
            <ac:spMk id="63" creationId="{391136B5-0AF8-D119-1861-05B1C5644EEC}"/>
          </ac:spMkLst>
        </pc:spChg>
        <pc:spChg chg="del topLvl">
          <ac:chgData name="Bogoljub Ilievski" userId="k1V2fvaDk1DjFl7dKjnGWoP6BqsJV2r5hBk9WLxPo/w=" providerId="None" clId="Web-{9D1B34C2-9F3F-44D2-99E9-D0C93B1E129A}" dt="2026-04-15T21:21:51.487" v="222"/>
          <ac:spMkLst>
            <pc:docMk/>
            <pc:sldMk cId="1773330120" sldId="12579"/>
            <ac:spMk id="66" creationId="{6DCD150D-5E38-CDA4-FC6C-16EF314EBFC0}"/>
          </ac:spMkLst>
        </pc:spChg>
        <pc:spChg chg="del">
          <ac:chgData name="Bogoljub Ilievski" userId="k1V2fvaDk1DjFl7dKjnGWoP6BqsJV2r5hBk9WLxPo/w=" providerId="None" clId="Web-{9D1B34C2-9F3F-44D2-99E9-D0C93B1E129A}" dt="2026-04-15T21:21:51.487" v="220"/>
          <ac:spMkLst>
            <pc:docMk/>
            <pc:sldMk cId="1773330120" sldId="12579"/>
            <ac:spMk id="68" creationId="{3C210883-E4C6-AD08-821D-84265D71DF8F}"/>
          </ac:spMkLst>
        </pc:spChg>
        <pc:grpChg chg="add del">
          <ac:chgData name="Bogoljub Ilievski" userId="k1V2fvaDk1DjFl7dKjnGWoP6BqsJV2r5hBk9WLxPo/w=" providerId="None" clId="Web-{9D1B34C2-9F3F-44D2-99E9-D0C93B1E129A}" dt="2026-04-15T21:21:32.956" v="213"/>
          <ac:grpSpMkLst>
            <pc:docMk/>
            <pc:sldMk cId="1773330120" sldId="12579"/>
            <ac:grpSpMk id="6" creationId="{D46134B2-A2BF-5C7F-EA57-BC85175FC9A8}"/>
          </ac:grpSpMkLst>
        </pc:grpChg>
        <pc:grpChg chg="del topLvl">
          <ac:chgData name="Bogoljub Ilievski" userId="k1V2fvaDk1DjFl7dKjnGWoP6BqsJV2r5hBk9WLxPo/w=" providerId="None" clId="Web-{9D1B34C2-9F3F-44D2-99E9-D0C93B1E129A}" dt="2026-04-15T21:21:51.487" v="235"/>
          <ac:grpSpMkLst>
            <pc:docMk/>
            <pc:sldMk cId="1773330120" sldId="12579"/>
            <ac:grpSpMk id="36" creationId="{12324062-1786-13A0-56DE-977D70AD058F}"/>
          </ac:grpSpMkLst>
        </pc:grpChg>
        <pc:grpChg chg="del">
          <ac:chgData name="Bogoljub Ilievski" userId="k1V2fvaDk1DjFl7dKjnGWoP6BqsJV2r5hBk9WLxPo/w=" providerId="None" clId="Web-{9D1B34C2-9F3F-44D2-99E9-D0C93B1E129A}" dt="2026-04-15T21:21:51.487" v="238"/>
          <ac:grpSpMkLst>
            <pc:docMk/>
            <pc:sldMk cId="1773330120" sldId="12579"/>
            <ac:grpSpMk id="38" creationId="{76DBC6DF-9F46-8FC7-BC71-A9A8F1BF7992}"/>
          </ac:grpSpMkLst>
        </pc:grpChg>
        <pc:grpChg chg="del">
          <ac:chgData name="Bogoljub Ilievski" userId="k1V2fvaDk1DjFl7dKjnGWoP6BqsJV2r5hBk9WLxPo/w=" providerId="None" clId="Web-{9D1B34C2-9F3F-44D2-99E9-D0C93B1E129A}" dt="2026-04-15T21:21:51.487" v="236"/>
          <ac:grpSpMkLst>
            <pc:docMk/>
            <pc:sldMk cId="1773330120" sldId="12579"/>
            <ac:grpSpMk id="39" creationId="{F73E74F2-9FE4-CF82-A666-85420354422F}"/>
          </ac:grpSpMkLst>
        </pc:grpChg>
        <pc:grpChg chg="del">
          <ac:chgData name="Bogoljub Ilievski" userId="k1V2fvaDk1DjFl7dKjnGWoP6BqsJV2r5hBk9WLxPo/w=" providerId="None" clId="Web-{9D1B34C2-9F3F-44D2-99E9-D0C93B1E129A}" dt="2026-04-15T21:21:51.487" v="237"/>
          <ac:grpSpMkLst>
            <pc:docMk/>
            <pc:sldMk cId="1773330120" sldId="12579"/>
            <ac:grpSpMk id="40" creationId="{C0A91841-232F-3768-1BBA-C67B5A52A056}"/>
          </ac:grpSpMkLst>
        </pc:grpChg>
        <pc:grpChg chg="del">
          <ac:chgData name="Bogoljub Ilievski" userId="k1V2fvaDk1DjFl7dKjnGWoP6BqsJV2r5hBk9WLxPo/w=" providerId="None" clId="Web-{9D1B34C2-9F3F-44D2-99E9-D0C93B1E129A}" dt="2026-04-15T21:21:33.143" v="215"/>
          <ac:grpSpMkLst>
            <pc:docMk/>
            <pc:sldMk cId="1773330120" sldId="12579"/>
            <ac:grpSpMk id="43" creationId="{DA3F0E7C-657F-EB24-6334-B25F8489DDC0}"/>
          </ac:grpSpMkLst>
        </pc:grpChg>
        <pc:grpChg chg="del">
          <ac:chgData name="Bogoljub Ilievski" userId="k1V2fvaDk1DjFl7dKjnGWoP6BqsJV2r5hBk9WLxPo/w=" providerId="None" clId="Web-{9D1B34C2-9F3F-44D2-99E9-D0C93B1E129A}" dt="2026-04-15T21:21:33.174" v="216"/>
          <ac:grpSpMkLst>
            <pc:docMk/>
            <pc:sldMk cId="1773330120" sldId="12579"/>
            <ac:grpSpMk id="44" creationId="{9324495B-AB8A-82E4-E6FD-C1DA096A7CD1}"/>
          </ac:grpSpMkLst>
        </pc:grpChg>
        <pc:grpChg chg="del">
          <ac:chgData name="Bogoljub Ilievski" userId="k1V2fvaDk1DjFl7dKjnGWoP6BqsJV2r5hBk9WLxPo/w=" providerId="None" clId="Web-{9D1B34C2-9F3F-44D2-99E9-D0C93B1E129A}" dt="2026-04-15T21:21:33.221" v="218"/>
          <ac:grpSpMkLst>
            <pc:docMk/>
            <pc:sldMk cId="1773330120" sldId="12579"/>
            <ac:grpSpMk id="64" creationId="{F1147215-3B61-ECCD-B2EF-5FE11E41AB67}"/>
          </ac:grpSpMkLst>
        </pc:grpChg>
        <pc:grpChg chg="del">
          <ac:chgData name="Bogoljub Ilievski" userId="k1V2fvaDk1DjFl7dKjnGWoP6BqsJV2r5hBk9WLxPo/w=" providerId="None" clId="Web-{9D1B34C2-9F3F-44D2-99E9-D0C93B1E129A}" dt="2026-04-15T21:21:33.206" v="217"/>
          <ac:grpSpMkLst>
            <pc:docMk/>
            <pc:sldMk cId="1773330120" sldId="12579"/>
            <ac:grpSpMk id="65" creationId="{479F40C2-4A31-325D-D25A-73B917120AE7}"/>
          </ac:grpSpMkLst>
        </pc:grpChg>
        <pc:grpChg chg="del">
          <ac:chgData name="Bogoljub Ilievski" userId="k1V2fvaDk1DjFl7dKjnGWoP6BqsJV2r5hBk9WLxPo/w=" providerId="None" clId="Web-{9D1B34C2-9F3F-44D2-99E9-D0C93B1E129A}" dt="2026-04-15T21:21:33.112" v="214"/>
          <ac:grpSpMkLst>
            <pc:docMk/>
            <pc:sldMk cId="1773330120" sldId="12579"/>
            <ac:grpSpMk id="69" creationId="{3E2156B7-55DF-1860-CA9C-24165F3ACADA}"/>
          </ac:grpSpMkLst>
        </pc:grpChg>
        <pc:grpChg chg="add">
          <ac:chgData name="Bogoljub Ilievski" userId="k1V2fvaDk1DjFl7dKjnGWoP6BqsJV2r5hBk9WLxPo/w=" providerId="None" clId="Web-{9D1B34C2-9F3F-44D2-99E9-D0C93B1E129A}" dt="2026-04-15T21:22:16.987" v="257"/>
          <ac:grpSpMkLst>
            <pc:docMk/>
            <pc:sldMk cId="1773330120" sldId="12579"/>
            <ac:grpSpMk id="105" creationId="{56342246-3828-D868-624B-9966A2976D6B}"/>
          </ac:grpSpMkLst>
        </pc:grpChg>
        <pc:picChg chg="del topLvl">
          <ac:chgData name="Bogoljub Ilievski" userId="k1V2fvaDk1DjFl7dKjnGWoP6BqsJV2r5hBk9WLxPo/w=" providerId="None" clId="Web-{9D1B34C2-9F3F-44D2-99E9-D0C93B1E129A}" dt="2026-04-15T21:21:51.487" v="252"/>
          <ac:picMkLst>
            <pc:docMk/>
            <pc:sldMk cId="1773330120" sldId="12579"/>
            <ac:picMk id="8" creationId="{EDC7D4A2-81D0-8167-0713-4A4092045EA0}"/>
          </ac:picMkLst>
        </pc:picChg>
        <pc:picChg chg="del topLvl">
          <ac:chgData name="Bogoljub Ilievski" userId="k1V2fvaDk1DjFl7dKjnGWoP6BqsJV2r5hBk9WLxPo/w=" providerId="None" clId="Web-{9D1B34C2-9F3F-44D2-99E9-D0C93B1E129A}" dt="2026-04-15T21:21:51.487" v="239"/>
          <ac:picMkLst>
            <pc:docMk/>
            <pc:sldMk cId="1773330120" sldId="12579"/>
            <ac:picMk id="26" creationId="{09792B33-6A1E-55B6-EED0-B93A226F4275}"/>
          </ac:picMkLst>
        </pc:picChg>
        <pc:picChg chg="del topLvl">
          <ac:chgData name="Bogoljub Ilievski" userId="k1V2fvaDk1DjFl7dKjnGWoP6BqsJV2r5hBk9WLxPo/w=" providerId="None" clId="Web-{9D1B34C2-9F3F-44D2-99E9-D0C93B1E129A}" dt="2026-04-15T21:21:51.487" v="250"/>
          <ac:picMkLst>
            <pc:docMk/>
            <pc:sldMk cId="1773330120" sldId="12579"/>
            <ac:picMk id="28" creationId="{BF5E5B8C-893C-74D4-CAE5-2AE402CCF9FE}"/>
          </ac:picMkLst>
        </pc:picChg>
        <pc:picChg chg="del">
          <ac:chgData name="Bogoljub Ilievski" userId="k1V2fvaDk1DjFl7dKjnGWoP6BqsJV2r5hBk9WLxPo/w=" providerId="None" clId="Web-{9D1B34C2-9F3F-44D2-99E9-D0C93B1E129A}" dt="2026-04-15T21:21:51.487" v="225"/>
          <ac:picMkLst>
            <pc:docMk/>
            <pc:sldMk cId="1773330120" sldId="12579"/>
            <ac:picMk id="48" creationId="{C5F96564-13D0-46E2-3AE8-D06191AA3CC3}"/>
          </ac:picMkLst>
        </pc:picChg>
        <pc:picChg chg="del topLvl">
          <ac:chgData name="Bogoljub Ilievski" userId="k1V2fvaDk1DjFl7dKjnGWoP6BqsJV2r5hBk9WLxPo/w=" providerId="None" clId="Web-{9D1B34C2-9F3F-44D2-99E9-D0C93B1E129A}" dt="2026-04-15T21:21:51.487" v="221"/>
          <ac:picMkLst>
            <pc:docMk/>
            <pc:sldMk cId="1773330120" sldId="12579"/>
            <ac:picMk id="67" creationId="{81E29059-6A5B-0517-F60A-644763131902}"/>
          </ac:picMkLst>
        </pc:picChg>
        <pc:cxnChg chg="del mod">
          <ac:chgData name="Bogoljub Ilievski" userId="k1V2fvaDk1DjFl7dKjnGWoP6BqsJV2r5hBk9WLxPo/w=" providerId="None" clId="Web-{9D1B34C2-9F3F-44D2-99E9-D0C93B1E129A}" dt="2026-04-15T21:21:51.487" v="251"/>
          <ac:cxnSpMkLst>
            <pc:docMk/>
            <pc:sldMk cId="1773330120" sldId="12579"/>
            <ac:cxnSpMk id="11" creationId="{D50D1E21-CCE8-D9F5-27D2-8D53527485F5}"/>
          </ac:cxnSpMkLst>
        </pc:cxnChg>
        <pc:cxnChg chg="del topLvl">
          <ac:chgData name="Bogoljub Ilievski" userId="k1V2fvaDk1DjFl7dKjnGWoP6BqsJV2r5hBk9WLxPo/w=" providerId="None" clId="Web-{9D1B34C2-9F3F-44D2-99E9-D0C93B1E129A}" dt="2026-04-15T21:21:51.487" v="244"/>
          <ac:cxnSpMkLst>
            <pc:docMk/>
            <pc:sldMk cId="1773330120" sldId="12579"/>
            <ac:cxnSpMk id="34" creationId="{F3096F2F-B7C0-7EA1-8D16-E5D4A6764829}"/>
          </ac:cxnSpMkLst>
        </pc:cxnChg>
        <pc:cxnChg chg="del topLvl">
          <ac:chgData name="Bogoljub Ilievski" userId="k1V2fvaDk1DjFl7dKjnGWoP6BqsJV2r5hBk9WLxPo/w=" providerId="None" clId="Web-{9D1B34C2-9F3F-44D2-99E9-D0C93B1E129A}" dt="2026-04-15T21:21:51.487" v="243"/>
          <ac:cxnSpMkLst>
            <pc:docMk/>
            <pc:sldMk cId="1773330120" sldId="12579"/>
            <ac:cxnSpMk id="35" creationId="{413B93BF-BB6E-1A6E-FD37-AD61F9F854F1}"/>
          </ac:cxnSpMkLst>
        </pc:cxnChg>
      </pc:sldChg>
      <pc:sldChg chg="modSp add del modCm">
        <pc:chgData name="Bogoljub Ilievski" userId="k1V2fvaDk1DjFl7dKjnGWoP6BqsJV2r5hBk9WLxPo/w=" providerId="None" clId="Web-{9D1B34C2-9F3F-44D2-99E9-D0C93B1E129A}" dt="2026-04-15T21:27:34.891" v="266" actId="1076"/>
        <pc:sldMkLst>
          <pc:docMk/>
          <pc:sldMk cId="2582478086" sldId="12582"/>
        </pc:sldMkLst>
        <pc:spChg chg="mod">
          <ac:chgData name="Bogoljub Ilievski" userId="k1V2fvaDk1DjFl7dKjnGWoP6BqsJV2r5hBk9WLxPo/w=" providerId="None" clId="Web-{9D1B34C2-9F3F-44D2-99E9-D0C93B1E129A}" dt="2026-04-15T20:40:03.727" v="145" actId="20577"/>
          <ac:spMkLst>
            <pc:docMk/>
            <pc:sldMk cId="2582478086" sldId="12582"/>
            <ac:spMk id="8" creationId="{CA0CCCF6-CED5-2798-F2B9-78CDCF751E21}"/>
          </ac:spMkLst>
        </pc:spChg>
        <pc:spChg chg="mod">
          <ac:chgData name="Bogoljub Ilievski" userId="k1V2fvaDk1DjFl7dKjnGWoP6BqsJV2r5hBk9WLxPo/w=" providerId="None" clId="Web-{9D1B34C2-9F3F-44D2-99E9-D0C93B1E129A}" dt="2026-04-15T20:39:52.399" v="143" actId="20577"/>
          <ac:spMkLst>
            <pc:docMk/>
            <pc:sldMk cId="2582478086" sldId="12582"/>
            <ac:spMk id="9" creationId="{AB25D07E-2C26-3350-2A9C-7B46E0479D8E}"/>
          </ac:spMkLst>
        </pc:spChg>
        <pc:spChg chg="mod">
          <ac:chgData name="Bogoljub Ilievski" userId="k1V2fvaDk1DjFl7dKjnGWoP6BqsJV2r5hBk9WLxPo/w=" providerId="None" clId="Web-{9D1B34C2-9F3F-44D2-99E9-D0C93B1E129A}" dt="2026-04-15T20:40:16.024" v="148" actId="20577"/>
          <ac:spMkLst>
            <pc:docMk/>
            <pc:sldMk cId="2582478086" sldId="12582"/>
            <ac:spMk id="11" creationId="{A333052E-6A44-60C3-93E0-36827FF8233A}"/>
          </ac:spMkLst>
        </pc:spChg>
        <pc:spChg chg="mod">
          <ac:chgData name="Bogoljub Ilievski" userId="k1V2fvaDk1DjFl7dKjnGWoP6BqsJV2r5hBk9WLxPo/w=" providerId="None" clId="Web-{9D1B34C2-9F3F-44D2-99E9-D0C93B1E129A}" dt="2026-04-15T21:27:34.891" v="266" actId="1076"/>
          <ac:spMkLst>
            <pc:docMk/>
            <pc:sldMk cId="2582478086" sldId="12582"/>
            <ac:spMk id="15" creationId="{F4733958-CDCF-9247-B281-D72A374EDCC8}"/>
          </ac:spMkLst>
        </pc:spChg>
        <pc:spChg chg="mod">
          <ac:chgData name="Bogoljub Ilievski" userId="k1V2fvaDk1DjFl7dKjnGWoP6BqsJV2r5hBk9WLxPo/w=" providerId="None" clId="Web-{9D1B34C2-9F3F-44D2-99E9-D0C93B1E129A}" dt="2026-04-15T21:27:07.532" v="264" actId="1076"/>
          <ac:spMkLst>
            <pc:docMk/>
            <pc:sldMk cId="2582478086" sldId="12582"/>
            <ac:spMk id="20" creationId="{277C3071-AAC7-AAE2-CC64-68FD2D170644}"/>
          </ac:spMkLst>
        </pc:spChg>
        <pc:spChg chg="mod">
          <ac:chgData name="Bogoljub Ilievski" userId="k1V2fvaDk1DjFl7dKjnGWoP6BqsJV2r5hBk9WLxPo/w=" providerId="None" clId="Web-{9D1B34C2-9F3F-44D2-99E9-D0C93B1E129A}" dt="2026-04-15T20:40:30.008" v="150" actId="20577"/>
          <ac:spMkLst>
            <pc:docMk/>
            <pc:sldMk cId="2582478086" sldId="12582"/>
            <ac:spMk id="21" creationId="{BC3704CC-DAF9-3BF9-E9EA-836307BA99AF}"/>
          </ac:spMkLst>
        </pc:spChg>
        <pc:spChg chg="mod">
          <ac:chgData name="Bogoljub Ilievski" userId="k1V2fvaDk1DjFl7dKjnGWoP6BqsJV2r5hBk9WLxPo/w=" providerId="None" clId="Web-{9D1B34C2-9F3F-44D2-99E9-D0C93B1E129A}" dt="2026-04-15T20:40:11.790" v="147" actId="20577"/>
          <ac:spMkLst>
            <pc:docMk/>
            <pc:sldMk cId="2582478086" sldId="12582"/>
            <ac:spMk id="24" creationId="{D30C7243-D807-BEB5-AB16-DD087302F504}"/>
          </ac:spMkLst>
        </pc:spChg>
        <pc:spChg chg="mod">
          <ac:chgData name="Bogoljub Ilievski" userId="k1V2fvaDk1DjFl7dKjnGWoP6BqsJV2r5hBk9WLxPo/w=" providerId="None" clId="Web-{9D1B34C2-9F3F-44D2-99E9-D0C93B1E129A}" dt="2026-04-15T21:26:51.204" v="263" actId="1076"/>
          <ac:spMkLst>
            <pc:docMk/>
            <pc:sldMk cId="2582478086" sldId="12582"/>
            <ac:spMk id="30" creationId="{8E152314-6BAE-B37A-F31B-5E8F55EFA263}"/>
          </ac:spMkLst>
        </pc:spChg>
        <pc:spChg chg="mod">
          <ac:chgData name="Bogoljub Ilievski" userId="k1V2fvaDk1DjFl7dKjnGWoP6BqsJV2r5hBk9WLxPo/w=" providerId="None" clId="Web-{9D1B34C2-9F3F-44D2-99E9-D0C93B1E129A}" dt="2026-04-15T21:26:25.985" v="261" actId="1076"/>
          <ac:spMkLst>
            <pc:docMk/>
            <pc:sldMk cId="2582478086" sldId="12582"/>
            <ac:spMk id="31" creationId="{3F7B5138-7F9A-B8AD-A7F4-7BF2E996E4BB}"/>
          </ac:spMkLst>
        </pc:spChg>
        <pc:spChg chg="mod">
          <ac:chgData name="Bogoljub Ilievski" userId="k1V2fvaDk1DjFl7dKjnGWoP6BqsJV2r5hBk9WLxPo/w=" providerId="None" clId="Web-{9D1B34C2-9F3F-44D2-99E9-D0C93B1E129A}" dt="2026-04-15T21:26:39.767" v="262" actId="1076"/>
          <ac:spMkLst>
            <pc:docMk/>
            <pc:sldMk cId="2582478086" sldId="12582"/>
            <ac:spMk id="35" creationId="{F119F976-492C-2E37-D565-A590243A7D32}"/>
          </ac:spMkLst>
        </pc:spChg>
        <pc:spChg chg="mod">
          <ac:chgData name="Bogoljub Ilievski" userId="k1V2fvaDk1DjFl7dKjnGWoP6BqsJV2r5hBk9WLxPo/w=" providerId="None" clId="Web-{9D1B34C2-9F3F-44D2-99E9-D0C93B1E129A}" dt="2026-04-15T21:27:24.391" v="265" actId="1076"/>
          <ac:spMkLst>
            <pc:docMk/>
            <pc:sldMk cId="2582478086" sldId="12582"/>
            <ac:spMk id="63" creationId="{C3942E3A-B4BE-C5DD-5811-C766962795FF}"/>
          </ac:spMkLst>
        </pc:spChg>
        <pc:extLst>
          <p:ext xmlns:p="http://schemas.openxmlformats.org/presentationml/2006/main" uri="{D6D511B9-2390-475A-947B-AFAB55BFBCF1}">
            <pc226:cmChg xmlns:pc226="http://schemas.microsoft.com/office/powerpoint/2022/06/main/command" chg="mod">
              <pc226:chgData name="Bogoljub Ilievski" userId="k1V2fvaDk1DjFl7dKjnGWoP6BqsJV2r5hBk9WLxPo/w=" providerId="None" clId="Web-{9D1B34C2-9F3F-44D2-99E9-D0C93B1E129A}" dt="2026-04-15T20:39:48.227" v="140" actId="20577"/>
              <pc2:cmMkLst xmlns:pc2="http://schemas.microsoft.com/office/powerpoint/2019/9/main/command">
                <pc:docMk/>
                <pc:sldMk cId="2582478086" sldId="12582"/>
                <pc2:cmMk id="{18DCB43C-12D7-448E-8620-2842F91BEAEC}"/>
              </pc2:cmMkLst>
            </pc226:cmChg>
            <pc226:cmChg xmlns:pc226="http://schemas.microsoft.com/office/powerpoint/2022/06/main/command" chg="mod">
              <pc226:chgData name="Bogoljub Ilievski" userId="k1V2fvaDk1DjFl7dKjnGWoP6BqsJV2r5hBk9WLxPo/w=" providerId="None" clId="Web-{9D1B34C2-9F3F-44D2-99E9-D0C93B1E129A}" dt="2026-04-15T20:39:52.399" v="143" actId="20577"/>
              <pc2:cmMkLst xmlns:pc2="http://schemas.microsoft.com/office/powerpoint/2019/9/main/command">
                <pc:docMk/>
                <pc:sldMk cId="2582478086" sldId="12582"/>
                <pc2:cmMk id="{D6699DD6-80B6-44FD-B914-A65C2F686172}"/>
              </pc2:cmMkLst>
            </pc226:cmChg>
          </p:ext>
        </pc:extLst>
      </pc:sldChg>
      <pc:sldChg chg="modSp">
        <pc:chgData name="Bogoljub Ilievski" userId="k1V2fvaDk1DjFl7dKjnGWoP6BqsJV2r5hBk9WLxPo/w=" providerId="None" clId="Web-{9D1B34C2-9F3F-44D2-99E9-D0C93B1E129A}" dt="2026-04-15T20:41:09.633" v="151"/>
        <pc:sldMkLst>
          <pc:docMk/>
          <pc:sldMk cId="2994107730" sldId="12583"/>
        </pc:sldMkLst>
        <pc:spChg chg="mod">
          <ac:chgData name="Bogoljub Ilievski" userId="k1V2fvaDk1DjFl7dKjnGWoP6BqsJV2r5hBk9WLxPo/w=" providerId="None" clId="Web-{9D1B34C2-9F3F-44D2-99E9-D0C93B1E129A}" dt="2026-04-15T20:41:09.633" v="151"/>
          <ac:spMkLst>
            <pc:docMk/>
            <pc:sldMk cId="2994107730" sldId="12583"/>
            <ac:spMk id="12" creationId="{4E646CDF-1F1F-94FB-E3E4-FF31855BB058}"/>
          </ac:spMkLst>
        </pc:spChg>
      </pc:sldChg>
      <pc:sldChg chg="addSp delSp modSp">
        <pc:chgData name="Bogoljub Ilievski" userId="k1V2fvaDk1DjFl7dKjnGWoP6BqsJV2r5hBk9WLxPo/w=" providerId="None" clId="Web-{9D1B34C2-9F3F-44D2-99E9-D0C93B1E129A}" dt="2026-04-15T20:28:54.928" v="87" actId="1076"/>
        <pc:sldMkLst>
          <pc:docMk/>
          <pc:sldMk cId="821924550" sldId="12586"/>
        </pc:sldMkLst>
        <pc:spChg chg="add del mod">
          <ac:chgData name="Bogoljub Ilievski" userId="k1V2fvaDk1DjFl7dKjnGWoP6BqsJV2r5hBk9WLxPo/w=" providerId="None" clId="Web-{9D1B34C2-9F3F-44D2-99E9-D0C93B1E129A}" dt="2026-04-15T20:21:51.225" v="31"/>
          <ac:spMkLst>
            <pc:docMk/>
            <pc:sldMk cId="821924550" sldId="12586"/>
            <ac:spMk id="7" creationId="{4E2D72C9-A284-446F-0C9E-E346B146DE5F}"/>
          </ac:spMkLst>
        </pc:spChg>
        <pc:spChg chg="add mod">
          <ac:chgData name="Bogoljub Ilievski" userId="k1V2fvaDk1DjFl7dKjnGWoP6BqsJV2r5hBk9WLxPo/w=" providerId="None" clId="Web-{9D1B34C2-9F3F-44D2-99E9-D0C93B1E129A}" dt="2026-04-15T20:28:54.928" v="87" actId="1076"/>
          <ac:spMkLst>
            <pc:docMk/>
            <pc:sldMk cId="821924550" sldId="12586"/>
            <ac:spMk id="10" creationId="{1A1A9711-E7E5-749B-A45C-46FEAB478BB0}"/>
          </ac:spMkLst>
        </pc:spChg>
      </pc:sldChg>
      <pc:sldChg chg="addSp delSp modSp add del replId">
        <pc:chgData name="Bogoljub Ilievski" userId="k1V2fvaDk1DjFl7dKjnGWoP6BqsJV2r5hBk9WLxPo/w=" providerId="None" clId="Web-{9D1B34C2-9F3F-44D2-99E9-D0C93B1E129A}" dt="2026-04-15T21:23:32.877" v="258"/>
        <pc:sldMkLst>
          <pc:docMk/>
          <pc:sldMk cId="621721330" sldId="12587"/>
        </pc:sldMkLst>
        <pc:spChg chg="mod topLvl">
          <ac:chgData name="Bogoljub Ilievski" userId="k1V2fvaDk1DjFl7dKjnGWoP6BqsJV2r5hBk9WLxPo/w=" providerId="None" clId="Web-{9D1B34C2-9F3F-44D2-99E9-D0C93B1E129A}" dt="2026-04-15T21:18:16.800" v="208"/>
          <ac:spMkLst>
            <pc:docMk/>
            <pc:sldMk cId="621721330" sldId="12587"/>
            <ac:spMk id="3" creationId="{B8DC4B25-1606-13F7-3909-4D4553A49813}"/>
          </ac:spMkLst>
        </pc:spChg>
        <pc:spChg chg="topLvl">
          <ac:chgData name="Bogoljub Ilievski" userId="k1V2fvaDk1DjFl7dKjnGWoP6BqsJV2r5hBk9WLxPo/w=" providerId="None" clId="Web-{9D1B34C2-9F3F-44D2-99E9-D0C93B1E129A}" dt="2026-04-15T21:18:16.800" v="208"/>
          <ac:spMkLst>
            <pc:docMk/>
            <pc:sldMk cId="621721330" sldId="12587"/>
            <ac:spMk id="12" creationId="{4EE513D9-94DE-682A-CA3A-97C4D964CE44}"/>
          </ac:spMkLst>
        </pc:spChg>
        <pc:spChg chg="mod">
          <ac:chgData name="Bogoljub Ilievski" userId="k1V2fvaDk1DjFl7dKjnGWoP6BqsJV2r5hBk9WLxPo/w=" providerId="None" clId="Web-{9D1B34C2-9F3F-44D2-99E9-D0C93B1E129A}" dt="2026-04-15T21:05:10.177" v="170" actId="1076"/>
          <ac:spMkLst>
            <pc:docMk/>
            <pc:sldMk cId="621721330" sldId="12587"/>
            <ac:spMk id="68" creationId="{C7AF0C2C-55E9-8F5A-D54B-CBC0B6ABD83E}"/>
          </ac:spMkLst>
        </pc:spChg>
        <pc:grpChg chg="add del mod">
          <ac:chgData name="Bogoljub Ilievski" userId="k1V2fvaDk1DjFl7dKjnGWoP6BqsJV2r5hBk9WLxPo/w=" providerId="None" clId="Web-{9D1B34C2-9F3F-44D2-99E9-D0C93B1E129A}" dt="2026-04-15T21:06:24.457" v="175"/>
          <ac:grpSpMkLst>
            <pc:docMk/>
            <pc:sldMk cId="621721330" sldId="12587"/>
            <ac:grpSpMk id="6" creationId="{8D8900C0-D35D-F04A-FC6A-63F37CC1BAD3}"/>
          </ac:grpSpMkLst>
        </pc:grpChg>
        <pc:grpChg chg="add mod">
          <ac:chgData name="Bogoljub Ilievski" userId="k1V2fvaDk1DjFl7dKjnGWoP6BqsJV2r5hBk9WLxPo/w=" providerId="None" clId="Web-{9D1B34C2-9F3F-44D2-99E9-D0C93B1E129A}" dt="2026-04-15T21:10:13.535" v="184" actId="1076"/>
          <ac:grpSpMkLst>
            <pc:docMk/>
            <pc:sldMk cId="621721330" sldId="12587"/>
            <ac:grpSpMk id="9" creationId="{478B319B-6CAD-3B4E-B656-38664F51334C}"/>
          </ac:grpSpMkLst>
        </pc:grpChg>
        <pc:grpChg chg="mod">
          <ac:chgData name="Bogoljub Ilievski" userId="k1V2fvaDk1DjFl7dKjnGWoP6BqsJV2r5hBk9WLxPo/w=" providerId="None" clId="Web-{9D1B34C2-9F3F-44D2-99E9-D0C93B1E129A}" dt="2026-04-15T21:03:07.458" v="160" actId="1076"/>
          <ac:grpSpMkLst>
            <pc:docMk/>
            <pc:sldMk cId="621721330" sldId="12587"/>
            <ac:grpSpMk id="43" creationId="{3910156C-009C-ECB3-69A4-C9F7C04B8AB6}"/>
          </ac:grpSpMkLst>
        </pc:grpChg>
        <pc:grpChg chg="mod">
          <ac:chgData name="Bogoljub Ilievski" userId="k1V2fvaDk1DjFl7dKjnGWoP6BqsJV2r5hBk9WLxPo/w=" providerId="None" clId="Web-{9D1B34C2-9F3F-44D2-99E9-D0C93B1E129A}" dt="2026-04-15T21:10:19.785" v="185" actId="1076"/>
          <ac:grpSpMkLst>
            <pc:docMk/>
            <pc:sldMk cId="621721330" sldId="12587"/>
            <ac:grpSpMk id="44" creationId="{B8C86CAC-EE5D-5CFD-E51C-9C09C87AE6CA}"/>
          </ac:grpSpMkLst>
        </pc:grpChg>
        <pc:grpChg chg="add mod topLvl">
          <ac:chgData name="Bogoljub Ilievski" userId="k1V2fvaDk1DjFl7dKjnGWoP6BqsJV2r5hBk9WLxPo/w=" providerId="None" clId="Web-{9D1B34C2-9F3F-44D2-99E9-D0C93B1E129A}" dt="2026-04-15T21:18:16.800" v="208"/>
          <ac:grpSpMkLst>
            <pc:docMk/>
            <pc:sldMk cId="621721330" sldId="12587"/>
            <ac:grpSpMk id="60" creationId="{8E68A70F-29BA-F238-DC92-73579A07304B}"/>
          </ac:grpSpMkLst>
        </pc:grpChg>
        <pc:grpChg chg="add mod">
          <ac:chgData name="Bogoljub Ilievski" userId="k1V2fvaDk1DjFl7dKjnGWoP6BqsJV2r5hBk9WLxPo/w=" providerId="None" clId="Web-{9D1B34C2-9F3F-44D2-99E9-D0C93B1E129A}" dt="2026-04-15T21:18:53.550" v="211" actId="1076"/>
          <ac:grpSpMkLst>
            <pc:docMk/>
            <pc:sldMk cId="621721330" sldId="12587"/>
            <ac:grpSpMk id="61" creationId="{E5E3498D-6A8E-5B66-B3BA-08BA3C3E9A43}"/>
          </ac:grpSpMkLst>
        </pc:grpChg>
        <pc:grpChg chg="add mod">
          <ac:chgData name="Bogoljub Ilievski" userId="k1V2fvaDk1DjFl7dKjnGWoP6BqsJV2r5hBk9WLxPo/w=" providerId="None" clId="Web-{9D1B34C2-9F3F-44D2-99E9-D0C93B1E129A}" dt="2026-04-15T21:16:27.940" v="198" actId="1076"/>
          <ac:grpSpMkLst>
            <pc:docMk/>
            <pc:sldMk cId="621721330" sldId="12587"/>
            <ac:grpSpMk id="62" creationId="{3B78EC2D-3B06-2F1B-DA13-41C43669D532}"/>
          </ac:grpSpMkLst>
        </pc:grpChg>
        <pc:grpChg chg="mod">
          <ac:chgData name="Bogoljub Ilievski" userId="k1V2fvaDk1DjFl7dKjnGWoP6BqsJV2r5hBk9WLxPo/w=" providerId="None" clId="Web-{9D1B34C2-9F3F-44D2-99E9-D0C93B1E129A}" dt="2026-04-15T21:03:23.568" v="162" actId="1076"/>
          <ac:grpSpMkLst>
            <pc:docMk/>
            <pc:sldMk cId="621721330" sldId="12587"/>
            <ac:grpSpMk id="69" creationId="{E140513F-0422-595F-BE29-676ED260D3BA}"/>
          </ac:grpSpMkLst>
        </pc:grpChg>
        <pc:grpChg chg="add del mod">
          <ac:chgData name="Bogoljub Ilievski" userId="k1V2fvaDk1DjFl7dKjnGWoP6BqsJV2r5hBk9WLxPo/w=" providerId="None" clId="Web-{9D1B34C2-9F3F-44D2-99E9-D0C93B1E129A}" dt="2026-04-15T21:18:16.800" v="208"/>
          <ac:grpSpMkLst>
            <pc:docMk/>
            <pc:sldMk cId="621721330" sldId="12587"/>
            <ac:grpSpMk id="70" creationId="{5F48A9E8-59DA-990E-EB28-A6ED011F817E}"/>
          </ac:grpSpMkLst>
        </pc:grpChg>
        <pc:grpChg chg="add mod">
          <ac:chgData name="Bogoljub Ilievski" userId="k1V2fvaDk1DjFl7dKjnGWoP6BqsJV2r5hBk9WLxPo/w=" providerId="None" clId="Web-{9D1B34C2-9F3F-44D2-99E9-D0C93B1E129A}" dt="2026-04-15T21:19:06.940" v="212" actId="1076"/>
          <ac:grpSpMkLst>
            <pc:docMk/>
            <pc:sldMk cId="621721330" sldId="12587"/>
            <ac:grpSpMk id="71" creationId="{26568030-ADF4-5E34-1BDC-E4AF26FCE914}"/>
          </ac:grpSpMkLst>
        </pc:grpChg>
        <pc:grpChg chg="add">
          <ac:chgData name="Bogoljub Ilievski" userId="k1V2fvaDk1DjFl7dKjnGWoP6BqsJV2r5hBk9WLxPo/w=" providerId="None" clId="Web-{9D1B34C2-9F3F-44D2-99E9-D0C93B1E129A}" dt="2026-04-15T21:22:07.877" v="256"/>
          <ac:grpSpMkLst>
            <pc:docMk/>
            <pc:sldMk cId="621721330" sldId="12587"/>
            <ac:grpSpMk id="72" creationId="{0450F85F-4195-28C7-C33B-1606ABA22EF8}"/>
          </ac:grpSpMkLst>
        </pc:grpChg>
        <pc:cxnChg chg="mod topLvl">
          <ac:chgData name="Bogoljub Ilievski" userId="k1V2fvaDk1DjFl7dKjnGWoP6BqsJV2r5hBk9WLxPo/w=" providerId="None" clId="Web-{9D1B34C2-9F3F-44D2-99E9-D0C93B1E129A}" dt="2026-04-15T21:18:16.800" v="208"/>
          <ac:cxnSpMkLst>
            <pc:docMk/>
            <pc:sldMk cId="621721330" sldId="12587"/>
            <ac:cxnSpMk id="11" creationId="{51DA4118-2B61-1A34-A9B7-9A7C84B622A6}"/>
          </ac:cxnSpMkLst>
        </pc:cxnChg>
      </pc:sldChg>
    </pc:docChg>
  </pc:docChgLst>
  <pc:docChgLst>
    <pc:chgData name="Ilievski, Bogoljub" userId="k1V2fvaDk1DjFl7dKjnGWoP6BqsJV2r5hBk9WLxPo/w=" providerId="None" clId="Web-{08B94077-835D-48C2-BA0C-FC102FCE950F}"/>
    <pc:docChg chg="modSld">
      <pc:chgData name="Ilievski, Bogoljub" userId="k1V2fvaDk1DjFl7dKjnGWoP6BqsJV2r5hBk9WLxPo/w=" providerId="None" clId="Web-{08B94077-835D-48C2-BA0C-FC102FCE950F}" dt="2026-04-16T14:50:33.404" v="13" actId="20577"/>
      <pc:docMkLst>
        <pc:docMk/>
      </pc:docMkLst>
      <pc:sldChg chg="modSp">
        <pc:chgData name="Ilievski, Bogoljub" userId="k1V2fvaDk1DjFl7dKjnGWoP6BqsJV2r5hBk9WLxPo/w=" providerId="None" clId="Web-{08B94077-835D-48C2-BA0C-FC102FCE950F}" dt="2026-04-16T14:50:33.404" v="13" actId="20577"/>
        <pc:sldMkLst>
          <pc:docMk/>
          <pc:sldMk cId="2410946401" sldId="12550"/>
        </pc:sldMkLst>
        <pc:spChg chg="mod">
          <ac:chgData name="Ilievski, Bogoljub" userId="k1V2fvaDk1DjFl7dKjnGWoP6BqsJV2r5hBk9WLxPo/w=" providerId="None" clId="Web-{08B94077-835D-48C2-BA0C-FC102FCE950F}" dt="2026-04-16T14:48:51.482" v="1" actId="20577"/>
          <ac:spMkLst>
            <pc:docMk/>
            <pc:sldMk cId="2410946401" sldId="12550"/>
            <ac:spMk id="9" creationId="{3CA20CAC-E67E-02D1-AE5B-D7C5676FF96E}"/>
          </ac:spMkLst>
        </pc:spChg>
        <pc:spChg chg="mod">
          <ac:chgData name="Ilievski, Bogoljub" userId="k1V2fvaDk1DjFl7dKjnGWoP6BqsJV2r5hBk9WLxPo/w=" providerId="None" clId="Web-{08B94077-835D-48C2-BA0C-FC102FCE950F}" dt="2026-04-16T14:50:33.404" v="13" actId="20577"/>
          <ac:spMkLst>
            <pc:docMk/>
            <pc:sldMk cId="2410946401" sldId="12550"/>
            <ac:spMk id="20" creationId="{74EE84AD-F839-F4E9-15BC-B5FA6E765383}"/>
          </ac:spMkLst>
        </pc:sp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en-GB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F85C8723-12EA-4836-8FDC-692B5A16ABA7}" type="datetimeFigureOut">
              <a:rPr lang="en-GB" smtClean="0"/>
              <a:pPr/>
              <a:t>16/04/2026</a:t>
            </a:fld>
            <a:endParaRPr lang="en-GB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en-GB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D68292E8-6B7D-4199-83EB-00DE15AFF5AE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5173363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685800" rtl="0" eaLnBrk="1" latinLnBrk="0" hangingPunct="1">
      <a:defRPr sz="9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342900" algn="l" defTabSz="685800" rtl="0" eaLnBrk="1" latinLnBrk="0" hangingPunct="1">
      <a:defRPr sz="9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685800" algn="l" defTabSz="685800" rtl="0" eaLnBrk="1" latinLnBrk="0" hangingPunct="1">
      <a:defRPr sz="9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028700" algn="l" defTabSz="685800" rtl="0" eaLnBrk="1" latinLnBrk="0" hangingPunct="1">
      <a:defRPr sz="9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1371600" algn="l" defTabSz="685800" rtl="0" eaLnBrk="1" latinLnBrk="0" hangingPunct="1">
      <a:defRPr sz="9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17145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6pPr>
    <a:lvl7pPr marL="20574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7pPr>
    <a:lvl8pPr marL="24003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8pPr>
    <a:lvl9pPr marL="27432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CD1B581-9300-A1AB-315A-0484E549CE7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B0A2C1F4-9897-A88B-75E1-7CA639A4A04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8559DCE6-B9DB-BC02-5D6A-1848FBF09A1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058E0A1-871C-2D65-9DA8-59C7E272FB5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68292E8-6B7D-4199-83EB-00DE15AFF5AE}" type="slidenum">
              <a:rPr lang="en-GB" smtClean="0"/>
              <a:pPr/>
              <a:t>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9843066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7016C0E-765E-58C9-BA35-4989B0C26CA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16C49A4A-B7AD-5693-12DE-AB5639A2907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363D489D-6A9E-8D17-6887-3119DDF8B83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7C5D1727-2FB1-0343-0FF5-6F699A5F241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68292E8-6B7D-4199-83EB-00DE15AFF5AE}" type="slidenum">
              <a:rPr lang="en-GB" smtClean="0"/>
              <a:t>2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9028000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8D253F6-915E-6C44-D4B7-B7D78DD2C79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7CBB6689-CE23-DCF9-8FD6-F9D7E1FC57C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FE1DCCC5-BBB3-7A51-509F-066270D57E6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4190D51E-34FB-E768-9FBD-303B8B1CAE1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68292E8-6B7D-4199-83EB-00DE15AFF5AE}" type="slidenum">
              <a:rPr lang="en-GB" smtClean="0"/>
              <a:t>5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1428447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68292E8-6B7D-4199-83EB-00DE15AFF5AE}" type="slidenum">
              <a:rPr lang="en-GB" smtClean="0"/>
              <a:t>6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438831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01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84213" y="1358795"/>
            <a:ext cx="8116887" cy="1335591"/>
          </a:xfrm>
        </p:spPr>
        <p:txBody>
          <a:bodyPr wrap="square" lIns="0" tIns="0" rIns="0" bIns="0" rtlCol="0" anchor="b" anchorCtr="0">
            <a:noAutofit/>
          </a:bodyPr>
          <a:lstStyle>
            <a:lvl1pPr>
              <a:defRPr lang="en-US" sz="2400" spc="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defTabSz="914103">
              <a:spcBef>
                <a:spcPct val="0"/>
              </a:spcBef>
            </a:pPr>
            <a:r>
              <a:rPr lang="de-DE"/>
              <a:t>tit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84213" y="2732486"/>
            <a:ext cx="8116887" cy="1503854"/>
          </a:xfrm>
        </p:spPr>
        <p:txBody>
          <a:bodyPr vert="horz" wrap="square" lIns="0" tIns="0" rIns="0" bIns="0" rtlCol="0" anchor="t" anchorCtr="0">
            <a:noAutofit/>
          </a:bodyPr>
          <a:lstStyle>
            <a:lvl1pPr>
              <a:lnSpc>
                <a:spcPct val="100000"/>
              </a:lnSpc>
              <a:defRPr lang="en-US" sz="900" cap="all" spc="0" baseline="0" dirty="0">
                <a:solidFill>
                  <a:schemeClr val="bg1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/>
              <a:t>Name surname | position department | date</a:t>
            </a:r>
          </a:p>
        </p:txBody>
      </p:sp>
      <p:sp>
        <p:nvSpPr>
          <p:cNvPr id="20" name="Textfeld 19">
            <a:extLst>
              <a:ext uri="{FF2B5EF4-FFF2-40B4-BE49-F238E27FC236}">
                <a16:creationId xmlns:a16="http://schemas.microsoft.com/office/drawing/2014/main" id="{729BDCAE-6710-1678-5AC3-706A77EE79A6}"/>
              </a:ext>
            </a:extLst>
          </p:cNvPr>
          <p:cNvSpPr txBox="1"/>
          <p:nvPr userDrawn="1"/>
        </p:nvSpPr>
        <p:spPr>
          <a:xfrm>
            <a:off x="8379417" y="4452668"/>
            <a:ext cx="431208" cy="153888"/>
          </a:xfrm>
          <a:prstGeom prst="rect">
            <a:avLst/>
          </a:prstGeom>
        </p:spPr>
        <p:txBody>
          <a:bodyPr wrap="none" lIns="0" tIns="0" rIns="0" bIns="0" rtlCol="0" anchor="ctr">
            <a:spAutoFit/>
          </a:bodyPr>
          <a:lstStyle/>
          <a:p>
            <a:pPr marL="0" indent="0" algn="r">
              <a:lnSpc>
                <a:spcPct val="100000"/>
              </a:lnSpc>
              <a:buNone/>
            </a:pPr>
            <a:r>
              <a:rPr lang="en-GB" sz="1000" b="0" cap="none" baseline="0">
                <a:solidFill>
                  <a:schemeClr val="bg1"/>
                </a:solidFill>
              </a:rPr>
              <a:t>epo.org</a:t>
            </a:r>
          </a:p>
        </p:txBody>
      </p:sp>
      <p:cxnSp>
        <p:nvCxnSpPr>
          <p:cNvPr id="24" name="Gerader Verbinder 23">
            <a:extLst>
              <a:ext uri="{FF2B5EF4-FFF2-40B4-BE49-F238E27FC236}">
                <a16:creationId xmlns:a16="http://schemas.microsoft.com/office/drawing/2014/main" id="{82EB119C-33EF-6385-B4B9-15B962CD3261}"/>
              </a:ext>
            </a:extLst>
          </p:cNvPr>
          <p:cNvCxnSpPr>
            <a:cxnSpLocks/>
          </p:cNvCxnSpPr>
          <p:nvPr userDrawn="1"/>
        </p:nvCxnSpPr>
        <p:spPr>
          <a:xfrm>
            <a:off x="684213" y="2693196"/>
            <a:ext cx="8116887" cy="0"/>
          </a:xfrm>
          <a:prstGeom prst="line">
            <a:avLst/>
          </a:prstGeom>
          <a:ln w="6350">
            <a:solidFill>
              <a:schemeClr val="bg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7806787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10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84213" y="1358795"/>
            <a:ext cx="8116887" cy="1335591"/>
          </a:xfrm>
        </p:spPr>
        <p:txBody>
          <a:bodyPr wrap="square" lIns="0" tIns="0" rIns="0" bIns="0" rtlCol="0" anchor="b" anchorCtr="0">
            <a:noAutofit/>
          </a:bodyPr>
          <a:lstStyle>
            <a:lvl1pPr>
              <a:defRPr lang="en-US" sz="2400" spc="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defTabSz="914103">
              <a:spcBef>
                <a:spcPct val="0"/>
              </a:spcBef>
            </a:pPr>
            <a:r>
              <a:rPr lang="de-DE"/>
              <a:t>tit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84213" y="2732486"/>
            <a:ext cx="8116887" cy="1503854"/>
          </a:xfrm>
        </p:spPr>
        <p:txBody>
          <a:bodyPr vert="horz" wrap="square" lIns="0" tIns="0" rIns="0" bIns="0" rtlCol="0" anchor="t" anchorCtr="0">
            <a:noAutofit/>
          </a:bodyPr>
          <a:lstStyle>
            <a:lvl1pPr>
              <a:lnSpc>
                <a:spcPct val="100000"/>
              </a:lnSpc>
              <a:defRPr lang="en-US" sz="900" cap="all" spc="0" baseline="0" dirty="0">
                <a:solidFill>
                  <a:schemeClr val="bg1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/>
              <a:t>Name surname | position department | date</a:t>
            </a:r>
          </a:p>
        </p:txBody>
      </p:sp>
      <p:sp>
        <p:nvSpPr>
          <p:cNvPr id="20" name="Textfeld 19">
            <a:extLst>
              <a:ext uri="{FF2B5EF4-FFF2-40B4-BE49-F238E27FC236}">
                <a16:creationId xmlns:a16="http://schemas.microsoft.com/office/drawing/2014/main" id="{729BDCAE-6710-1678-5AC3-706A77EE79A6}"/>
              </a:ext>
            </a:extLst>
          </p:cNvPr>
          <p:cNvSpPr txBox="1"/>
          <p:nvPr userDrawn="1"/>
        </p:nvSpPr>
        <p:spPr>
          <a:xfrm>
            <a:off x="8379417" y="4452668"/>
            <a:ext cx="431208" cy="153888"/>
          </a:xfrm>
          <a:prstGeom prst="rect">
            <a:avLst/>
          </a:prstGeom>
        </p:spPr>
        <p:txBody>
          <a:bodyPr wrap="none" lIns="0" tIns="0" rIns="0" bIns="0" rtlCol="0" anchor="ctr">
            <a:spAutoFit/>
          </a:bodyPr>
          <a:lstStyle/>
          <a:p>
            <a:pPr marL="0" indent="0" algn="r">
              <a:lnSpc>
                <a:spcPct val="100000"/>
              </a:lnSpc>
              <a:buNone/>
            </a:pPr>
            <a:r>
              <a:rPr lang="en-GB" sz="1000" b="0" cap="none" baseline="0">
                <a:solidFill>
                  <a:schemeClr val="bg1"/>
                </a:solidFill>
              </a:rPr>
              <a:t>epo.org</a:t>
            </a:r>
          </a:p>
        </p:txBody>
      </p:sp>
      <p:cxnSp>
        <p:nvCxnSpPr>
          <p:cNvPr id="24" name="Gerader Verbinder 23">
            <a:extLst>
              <a:ext uri="{FF2B5EF4-FFF2-40B4-BE49-F238E27FC236}">
                <a16:creationId xmlns:a16="http://schemas.microsoft.com/office/drawing/2014/main" id="{82EB119C-33EF-6385-B4B9-15B962CD3261}"/>
              </a:ext>
            </a:extLst>
          </p:cNvPr>
          <p:cNvCxnSpPr>
            <a:cxnSpLocks/>
          </p:cNvCxnSpPr>
          <p:nvPr userDrawn="1"/>
        </p:nvCxnSpPr>
        <p:spPr>
          <a:xfrm>
            <a:off x="684213" y="2693196"/>
            <a:ext cx="8116887" cy="0"/>
          </a:xfrm>
          <a:prstGeom prst="line">
            <a:avLst/>
          </a:prstGeom>
          <a:ln w="6350">
            <a:solidFill>
              <a:schemeClr val="bg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EPO LOGO-50 Years EPC-2-white-01.png" descr="EPO LOGO-50 Years EPC-2-white-01.png">
            <a:extLst>
              <a:ext uri="{FF2B5EF4-FFF2-40B4-BE49-F238E27FC236}">
                <a16:creationId xmlns:a16="http://schemas.microsoft.com/office/drawing/2014/main" id="{8CD3FBEA-A50A-07F3-64FE-5D8F366D8133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35757" y="336110"/>
            <a:ext cx="1972800" cy="354277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340849844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11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84213" y="1358795"/>
            <a:ext cx="8116887" cy="1335591"/>
          </a:xfrm>
        </p:spPr>
        <p:txBody>
          <a:bodyPr wrap="square" lIns="0" tIns="0" rIns="0" bIns="0" rtlCol="0" anchor="b" anchorCtr="0">
            <a:noAutofit/>
          </a:bodyPr>
          <a:lstStyle>
            <a:lvl1pPr>
              <a:defRPr lang="en-US" sz="2400" spc="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defTabSz="914103">
              <a:spcBef>
                <a:spcPct val="0"/>
              </a:spcBef>
            </a:pPr>
            <a:r>
              <a:rPr lang="de-DE"/>
              <a:t>tit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84213" y="2732486"/>
            <a:ext cx="8116887" cy="1503854"/>
          </a:xfrm>
        </p:spPr>
        <p:txBody>
          <a:bodyPr vert="horz" wrap="square" lIns="0" tIns="0" rIns="0" bIns="0" rtlCol="0" anchor="t" anchorCtr="0">
            <a:noAutofit/>
          </a:bodyPr>
          <a:lstStyle>
            <a:lvl1pPr>
              <a:lnSpc>
                <a:spcPct val="100000"/>
              </a:lnSpc>
              <a:defRPr lang="en-US" sz="900" cap="all" spc="0" baseline="0" dirty="0">
                <a:solidFill>
                  <a:schemeClr val="bg1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/>
              <a:t>Name surname | position department | date</a:t>
            </a:r>
          </a:p>
        </p:txBody>
      </p:sp>
      <p:sp>
        <p:nvSpPr>
          <p:cNvPr id="20" name="Textfeld 19">
            <a:extLst>
              <a:ext uri="{FF2B5EF4-FFF2-40B4-BE49-F238E27FC236}">
                <a16:creationId xmlns:a16="http://schemas.microsoft.com/office/drawing/2014/main" id="{729BDCAE-6710-1678-5AC3-706A77EE79A6}"/>
              </a:ext>
            </a:extLst>
          </p:cNvPr>
          <p:cNvSpPr txBox="1"/>
          <p:nvPr userDrawn="1"/>
        </p:nvSpPr>
        <p:spPr>
          <a:xfrm>
            <a:off x="8379417" y="4452668"/>
            <a:ext cx="431208" cy="153888"/>
          </a:xfrm>
          <a:prstGeom prst="rect">
            <a:avLst/>
          </a:prstGeom>
        </p:spPr>
        <p:txBody>
          <a:bodyPr wrap="none" lIns="0" tIns="0" rIns="0" bIns="0" rtlCol="0" anchor="ctr">
            <a:spAutoFit/>
          </a:bodyPr>
          <a:lstStyle/>
          <a:p>
            <a:pPr marL="0" indent="0" algn="r">
              <a:lnSpc>
                <a:spcPct val="100000"/>
              </a:lnSpc>
              <a:buNone/>
            </a:pPr>
            <a:r>
              <a:rPr lang="en-GB" sz="1000" b="0" cap="none" baseline="0">
                <a:solidFill>
                  <a:schemeClr val="bg1"/>
                </a:solidFill>
              </a:rPr>
              <a:t>epo.org</a:t>
            </a:r>
          </a:p>
        </p:txBody>
      </p:sp>
      <p:cxnSp>
        <p:nvCxnSpPr>
          <p:cNvPr id="24" name="Gerader Verbinder 23">
            <a:extLst>
              <a:ext uri="{FF2B5EF4-FFF2-40B4-BE49-F238E27FC236}">
                <a16:creationId xmlns:a16="http://schemas.microsoft.com/office/drawing/2014/main" id="{82EB119C-33EF-6385-B4B9-15B962CD3261}"/>
              </a:ext>
            </a:extLst>
          </p:cNvPr>
          <p:cNvCxnSpPr>
            <a:cxnSpLocks/>
          </p:cNvCxnSpPr>
          <p:nvPr userDrawn="1"/>
        </p:nvCxnSpPr>
        <p:spPr>
          <a:xfrm>
            <a:off x="684213" y="2693196"/>
            <a:ext cx="8116887" cy="0"/>
          </a:xfrm>
          <a:prstGeom prst="line">
            <a:avLst/>
          </a:prstGeom>
          <a:ln w="6350">
            <a:solidFill>
              <a:schemeClr val="bg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EPO LOGO-50 Years EPC-2-white-01.png" descr="EPO LOGO-50 Years EPC-2-white-01.png">
            <a:extLst>
              <a:ext uri="{FF2B5EF4-FFF2-40B4-BE49-F238E27FC236}">
                <a16:creationId xmlns:a16="http://schemas.microsoft.com/office/drawing/2014/main" id="{F1AC705D-EDE5-C5DA-88FB-C96AB5FFAD8A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35757" y="336110"/>
            <a:ext cx="1972800" cy="354277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191176998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1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84213" y="1358795"/>
            <a:ext cx="8116887" cy="1335591"/>
          </a:xfrm>
        </p:spPr>
        <p:txBody>
          <a:bodyPr wrap="square" lIns="0" tIns="0" rIns="0" bIns="0" rtlCol="0" anchor="b" anchorCtr="0">
            <a:noAutofit/>
          </a:bodyPr>
          <a:lstStyle>
            <a:lvl1pPr>
              <a:defRPr lang="en-US" sz="2400" spc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defTabSz="914103">
              <a:spcBef>
                <a:spcPct val="0"/>
              </a:spcBef>
            </a:pPr>
            <a:r>
              <a:rPr lang="de-DE"/>
              <a:t>tit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84213" y="2732486"/>
            <a:ext cx="8116887" cy="1503854"/>
          </a:xfrm>
        </p:spPr>
        <p:txBody>
          <a:bodyPr vert="horz" wrap="square" lIns="0" tIns="0" rIns="0" bIns="0" rtlCol="0" anchor="t" anchorCtr="0">
            <a:noAutofit/>
          </a:bodyPr>
          <a:lstStyle>
            <a:lvl1pPr>
              <a:lnSpc>
                <a:spcPct val="100000"/>
              </a:lnSpc>
              <a:defRPr lang="en-US" sz="900" cap="all" spc="0" baseline="0" dirty="0">
                <a:solidFill>
                  <a:schemeClr val="tx1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/>
              <a:t>Name surname | position department | date</a:t>
            </a:r>
          </a:p>
        </p:txBody>
      </p:sp>
      <p:sp>
        <p:nvSpPr>
          <p:cNvPr id="20" name="Textfeld 19">
            <a:extLst>
              <a:ext uri="{FF2B5EF4-FFF2-40B4-BE49-F238E27FC236}">
                <a16:creationId xmlns:a16="http://schemas.microsoft.com/office/drawing/2014/main" id="{729BDCAE-6710-1678-5AC3-706A77EE79A6}"/>
              </a:ext>
            </a:extLst>
          </p:cNvPr>
          <p:cNvSpPr txBox="1"/>
          <p:nvPr userDrawn="1"/>
        </p:nvSpPr>
        <p:spPr>
          <a:xfrm>
            <a:off x="8379417" y="4452668"/>
            <a:ext cx="431208" cy="153888"/>
          </a:xfrm>
          <a:prstGeom prst="rect">
            <a:avLst/>
          </a:prstGeom>
        </p:spPr>
        <p:txBody>
          <a:bodyPr wrap="none" lIns="0" tIns="0" rIns="0" bIns="0" rtlCol="0" anchor="ctr">
            <a:spAutoFit/>
          </a:bodyPr>
          <a:lstStyle/>
          <a:p>
            <a:pPr marL="0" indent="0" algn="r">
              <a:lnSpc>
                <a:spcPct val="100000"/>
              </a:lnSpc>
              <a:buNone/>
            </a:pPr>
            <a:r>
              <a:rPr lang="en-GB" sz="1000" b="0" cap="none" baseline="0">
                <a:solidFill>
                  <a:schemeClr val="tx2"/>
                </a:solidFill>
              </a:rPr>
              <a:t>epo.org</a:t>
            </a:r>
          </a:p>
        </p:txBody>
      </p:sp>
      <p:cxnSp>
        <p:nvCxnSpPr>
          <p:cNvPr id="24" name="Gerader Verbinder 23">
            <a:extLst>
              <a:ext uri="{FF2B5EF4-FFF2-40B4-BE49-F238E27FC236}">
                <a16:creationId xmlns:a16="http://schemas.microsoft.com/office/drawing/2014/main" id="{82EB119C-33EF-6385-B4B9-15B962CD3261}"/>
              </a:ext>
            </a:extLst>
          </p:cNvPr>
          <p:cNvCxnSpPr>
            <a:cxnSpLocks/>
          </p:cNvCxnSpPr>
          <p:nvPr userDrawn="1"/>
        </p:nvCxnSpPr>
        <p:spPr>
          <a:xfrm>
            <a:off x="684213" y="2693196"/>
            <a:ext cx="8116887" cy="0"/>
          </a:xfrm>
          <a:prstGeom prst="line">
            <a:avLst/>
          </a:prstGeom>
          <a:ln w="6350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Gerader Verbinder 6">
            <a:extLst>
              <a:ext uri="{FF2B5EF4-FFF2-40B4-BE49-F238E27FC236}">
                <a16:creationId xmlns:a16="http://schemas.microsoft.com/office/drawing/2014/main" id="{CF869866-9C2A-BF79-CA16-02A1F52EE8FC}"/>
              </a:ext>
            </a:extLst>
          </p:cNvPr>
          <p:cNvCxnSpPr>
            <a:cxnSpLocks/>
          </p:cNvCxnSpPr>
          <p:nvPr userDrawn="1"/>
        </p:nvCxnSpPr>
        <p:spPr>
          <a:xfrm>
            <a:off x="1104900" y="678110"/>
            <a:ext cx="7696200" cy="0"/>
          </a:xfrm>
          <a:prstGeom prst="line">
            <a:avLst/>
          </a:prstGeom>
          <a:ln w="6350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250651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401101" y="481662"/>
            <a:ext cx="5400000" cy="167675"/>
          </a:xfrm>
          <a:prstGeom prst="rect">
            <a:avLst/>
          </a:prstGeom>
        </p:spPr>
        <p:txBody>
          <a:bodyPr wrap="none" lIns="0" tIns="0" rIns="0" bIns="0" rtlCol="0" anchor="ctr">
            <a:noAutofit/>
          </a:bodyPr>
          <a:lstStyle>
            <a:lvl1pPr>
              <a:defRPr lang="de-DE" smtClean="0"/>
            </a:lvl1pPr>
          </a:lstStyle>
          <a:p>
            <a:r>
              <a:rPr lang="en-US"/>
              <a:t>Header</a:t>
            </a:r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261101" y="4640518"/>
            <a:ext cx="540000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smtClean="0"/>
            </a:lvl1pPr>
          </a:lstStyle>
          <a:p>
            <a:fld id="{B6EAC15D-B94B-4B86-ABD3-3EDECDB333F5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158E7A34-8711-2493-68BA-16C316D70574}"/>
              </a:ext>
            </a:extLst>
          </p:cNvPr>
          <p:cNvSpPr txBox="1"/>
          <p:nvPr userDrawn="1"/>
        </p:nvSpPr>
        <p:spPr>
          <a:xfrm>
            <a:off x="8369893" y="687351"/>
            <a:ext cx="431208" cy="153888"/>
          </a:xfrm>
          <a:prstGeom prst="rect">
            <a:avLst/>
          </a:prstGeom>
        </p:spPr>
        <p:txBody>
          <a:bodyPr wrap="none" lIns="0" tIns="0" rIns="0" bIns="0" rtlCol="0" anchor="ctr">
            <a:spAutoFit/>
          </a:bodyPr>
          <a:lstStyle/>
          <a:p>
            <a:pPr marL="0" indent="0" algn="r">
              <a:lnSpc>
                <a:spcPct val="100000"/>
              </a:lnSpc>
              <a:buNone/>
            </a:pPr>
            <a:r>
              <a:rPr lang="en-GB" sz="1000" b="0" cap="none" baseline="0">
                <a:solidFill>
                  <a:schemeClr val="tx2"/>
                </a:solidFill>
              </a:rPr>
              <a:t>epo.org</a:t>
            </a:r>
          </a:p>
        </p:txBody>
      </p:sp>
      <p:cxnSp>
        <p:nvCxnSpPr>
          <p:cNvPr id="9" name="Gerader Verbinder 8">
            <a:extLst>
              <a:ext uri="{FF2B5EF4-FFF2-40B4-BE49-F238E27FC236}">
                <a16:creationId xmlns:a16="http://schemas.microsoft.com/office/drawing/2014/main" id="{48A120DA-BC2D-9678-15F4-8D7B09E02FD7}"/>
              </a:ext>
            </a:extLst>
          </p:cNvPr>
          <p:cNvCxnSpPr>
            <a:cxnSpLocks/>
          </p:cNvCxnSpPr>
          <p:nvPr userDrawn="1"/>
        </p:nvCxnSpPr>
        <p:spPr>
          <a:xfrm>
            <a:off x="1104900" y="678110"/>
            <a:ext cx="7696200" cy="0"/>
          </a:xfrm>
          <a:prstGeom prst="line">
            <a:avLst/>
          </a:prstGeom>
          <a:ln w="6350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" name="Gruppieren 3">
            <a:extLst>
              <a:ext uri="{FF2B5EF4-FFF2-40B4-BE49-F238E27FC236}">
                <a16:creationId xmlns:a16="http://schemas.microsoft.com/office/drawing/2014/main" id="{4C7123F5-C72F-0CB6-E917-DA56ADEC7A15}"/>
              </a:ext>
            </a:extLst>
          </p:cNvPr>
          <p:cNvGrpSpPr/>
          <p:nvPr userDrawn="1"/>
        </p:nvGrpSpPr>
        <p:grpSpPr>
          <a:xfrm>
            <a:off x="0" y="4869074"/>
            <a:ext cx="9144000" cy="274426"/>
            <a:chOff x="0" y="4869074"/>
            <a:chExt cx="9144000" cy="274426"/>
          </a:xfrm>
        </p:grpSpPr>
        <p:sp>
          <p:nvSpPr>
            <p:cNvPr id="8" name="Rechteck 7">
              <a:extLst>
                <a:ext uri="{FF2B5EF4-FFF2-40B4-BE49-F238E27FC236}">
                  <a16:creationId xmlns:a16="http://schemas.microsoft.com/office/drawing/2014/main" id="{FF9C4199-C6AC-73B2-7D11-7A29B0AB8142}"/>
                </a:ext>
              </a:extLst>
            </p:cNvPr>
            <p:cNvSpPr/>
            <p:nvPr userDrawn="1"/>
          </p:nvSpPr>
          <p:spPr>
            <a:xfrm>
              <a:off x="0" y="4891500"/>
              <a:ext cx="9144000" cy="252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 kern="1200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10" name="Gerader Verbinder 9">
              <a:extLst>
                <a:ext uri="{FF2B5EF4-FFF2-40B4-BE49-F238E27FC236}">
                  <a16:creationId xmlns:a16="http://schemas.microsoft.com/office/drawing/2014/main" id="{C4C58663-3FD8-5259-92CD-F11FEEFD3C2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0" y="4869074"/>
              <a:ext cx="9144000" cy="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88339511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/>
        <p:txBody>
          <a:bodyPr/>
          <a:lstStyle/>
          <a:p>
            <a:pPr marL="144000" indent="-144000" defTabSz="914126"/>
            <a:r>
              <a:rPr lang="en-US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401101" y="481662"/>
            <a:ext cx="5400000" cy="167675"/>
          </a:xfrm>
          <a:prstGeom prst="rect">
            <a:avLst/>
          </a:prstGeom>
        </p:spPr>
        <p:txBody>
          <a:bodyPr wrap="none" lIns="0" tIns="0" rIns="0" bIns="0" rtlCol="0" anchor="ctr">
            <a:noAutofit/>
          </a:bodyPr>
          <a:lstStyle>
            <a:lvl1pPr>
              <a:defRPr lang="de-DE" smtClean="0"/>
            </a:lvl1pPr>
          </a:lstStyle>
          <a:p>
            <a:r>
              <a:rPr lang="en-US"/>
              <a:t>Header</a:t>
            </a:r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261101" y="4640518"/>
            <a:ext cx="540000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smtClean="0"/>
            </a:lvl1pPr>
          </a:lstStyle>
          <a:p>
            <a:fld id="{B6EAC15D-B94B-4B86-ABD3-3EDECDB333F5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158E7A34-8711-2493-68BA-16C316D70574}"/>
              </a:ext>
            </a:extLst>
          </p:cNvPr>
          <p:cNvSpPr txBox="1"/>
          <p:nvPr userDrawn="1"/>
        </p:nvSpPr>
        <p:spPr>
          <a:xfrm>
            <a:off x="8369893" y="687351"/>
            <a:ext cx="431208" cy="153888"/>
          </a:xfrm>
          <a:prstGeom prst="rect">
            <a:avLst/>
          </a:prstGeom>
        </p:spPr>
        <p:txBody>
          <a:bodyPr wrap="none" lIns="0" tIns="0" rIns="0" bIns="0" rtlCol="0" anchor="ctr">
            <a:spAutoFit/>
          </a:bodyPr>
          <a:lstStyle/>
          <a:p>
            <a:pPr marL="0" indent="0" algn="r">
              <a:lnSpc>
                <a:spcPct val="100000"/>
              </a:lnSpc>
              <a:buNone/>
            </a:pPr>
            <a:r>
              <a:rPr lang="en-GB" sz="1000" b="0" cap="none" baseline="0">
                <a:solidFill>
                  <a:schemeClr val="tx2"/>
                </a:solidFill>
              </a:rPr>
              <a:t>epo.org</a:t>
            </a:r>
          </a:p>
        </p:txBody>
      </p:sp>
      <p:cxnSp>
        <p:nvCxnSpPr>
          <p:cNvPr id="9" name="Gerader Verbinder 8">
            <a:extLst>
              <a:ext uri="{FF2B5EF4-FFF2-40B4-BE49-F238E27FC236}">
                <a16:creationId xmlns:a16="http://schemas.microsoft.com/office/drawing/2014/main" id="{48A120DA-BC2D-9678-15F4-8D7B09E02FD7}"/>
              </a:ext>
            </a:extLst>
          </p:cNvPr>
          <p:cNvCxnSpPr>
            <a:cxnSpLocks/>
          </p:cNvCxnSpPr>
          <p:nvPr userDrawn="1"/>
        </p:nvCxnSpPr>
        <p:spPr>
          <a:xfrm>
            <a:off x="1104900" y="678110"/>
            <a:ext cx="7696200" cy="0"/>
          </a:xfrm>
          <a:prstGeom prst="line">
            <a:avLst/>
          </a:prstGeom>
          <a:ln w="6350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4" name="Gruppieren 13">
            <a:extLst>
              <a:ext uri="{FF2B5EF4-FFF2-40B4-BE49-F238E27FC236}">
                <a16:creationId xmlns:a16="http://schemas.microsoft.com/office/drawing/2014/main" id="{4E24297B-E90A-DBCD-7CF1-D8905905AF77}"/>
              </a:ext>
            </a:extLst>
          </p:cNvPr>
          <p:cNvGrpSpPr/>
          <p:nvPr userDrawn="1"/>
        </p:nvGrpSpPr>
        <p:grpSpPr>
          <a:xfrm>
            <a:off x="0" y="4869074"/>
            <a:ext cx="9144000" cy="274426"/>
            <a:chOff x="0" y="4869074"/>
            <a:chExt cx="9144000" cy="274426"/>
          </a:xfrm>
        </p:grpSpPr>
        <p:sp>
          <p:nvSpPr>
            <p:cNvPr id="15" name="Rechteck 14">
              <a:extLst>
                <a:ext uri="{FF2B5EF4-FFF2-40B4-BE49-F238E27FC236}">
                  <a16:creationId xmlns:a16="http://schemas.microsoft.com/office/drawing/2014/main" id="{3FFC302C-4D21-5D23-A91D-4947AAB3254D}"/>
                </a:ext>
              </a:extLst>
            </p:cNvPr>
            <p:cNvSpPr/>
            <p:nvPr userDrawn="1"/>
          </p:nvSpPr>
          <p:spPr>
            <a:xfrm>
              <a:off x="0" y="4891500"/>
              <a:ext cx="9144000" cy="252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 kern="1200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16" name="Gerader Verbinder 15">
              <a:extLst>
                <a:ext uri="{FF2B5EF4-FFF2-40B4-BE49-F238E27FC236}">
                  <a16:creationId xmlns:a16="http://schemas.microsoft.com/office/drawing/2014/main" id="{4DFEE82A-E409-6C0A-EADC-6ACCDCA3953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0" y="4869074"/>
              <a:ext cx="9144000" cy="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03776626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86701" y="804213"/>
            <a:ext cx="8114400" cy="554400"/>
          </a:xfrm>
        </p:spPr>
        <p:txBody>
          <a:bodyPr vert="horz" lIns="0" tIns="0" rIns="0" bIns="0" rtlCol="0" anchor="b" anchorCtr="0">
            <a:noAutofit/>
          </a:bodyPr>
          <a:lstStyle>
            <a:lvl1pPr>
              <a:defRPr lang="en-US" dirty="0"/>
            </a:lvl1pPr>
          </a:lstStyle>
          <a:p>
            <a:pPr marL="0" lvl="0"/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686701" y="1479553"/>
            <a:ext cx="3886200" cy="3106800"/>
          </a:xfrm>
        </p:spPr>
        <p:txBody>
          <a:bodyPr/>
          <a:lstStyle/>
          <a:p>
            <a:pPr marL="144000" indent="-144000" defTabSz="914126"/>
            <a:r>
              <a:rPr lang="en-US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914901" y="1479553"/>
            <a:ext cx="3886200" cy="3106800"/>
          </a:xfrm>
        </p:spPr>
        <p:txBody>
          <a:bodyPr/>
          <a:lstStyle/>
          <a:p>
            <a:pPr marL="144000" indent="-144000" defTabSz="914126"/>
            <a:r>
              <a:rPr lang="en-US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401101" y="481662"/>
            <a:ext cx="5400000" cy="167675"/>
          </a:xfrm>
          <a:prstGeom prst="rect">
            <a:avLst/>
          </a:prstGeom>
        </p:spPr>
        <p:txBody>
          <a:bodyPr wrap="none" lIns="0" tIns="0" rIns="0" bIns="0" rtlCol="0" anchor="ctr">
            <a:noAutofit/>
          </a:bodyPr>
          <a:lstStyle>
            <a:lvl1pPr>
              <a:defRPr lang="de-DE" smtClean="0"/>
            </a:lvl1pPr>
          </a:lstStyle>
          <a:p>
            <a:r>
              <a:rPr lang="en-US"/>
              <a:t>Header</a:t>
            </a:r>
            <a:endParaRPr lang="de-D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8261101" y="4640518"/>
            <a:ext cx="540000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de-DE" smtClean="0"/>
            </a:lvl1pPr>
          </a:lstStyle>
          <a:p>
            <a:fld id="{B6EAC15D-B94B-4B86-ABD3-3EDECDB333F5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0E2E8E66-489E-32F7-42A1-41B5096D25F8}"/>
              </a:ext>
            </a:extLst>
          </p:cNvPr>
          <p:cNvSpPr txBox="1"/>
          <p:nvPr userDrawn="1"/>
        </p:nvSpPr>
        <p:spPr>
          <a:xfrm>
            <a:off x="8369893" y="687351"/>
            <a:ext cx="431208" cy="153888"/>
          </a:xfrm>
          <a:prstGeom prst="rect">
            <a:avLst/>
          </a:prstGeom>
        </p:spPr>
        <p:txBody>
          <a:bodyPr wrap="none" lIns="0" tIns="0" rIns="0" bIns="0" rtlCol="0" anchor="ctr">
            <a:spAutoFit/>
          </a:bodyPr>
          <a:lstStyle/>
          <a:p>
            <a:pPr marL="0" indent="0" algn="r">
              <a:lnSpc>
                <a:spcPct val="100000"/>
              </a:lnSpc>
              <a:buNone/>
            </a:pPr>
            <a:r>
              <a:rPr lang="en-GB" sz="1000" b="0" cap="none" baseline="0">
                <a:solidFill>
                  <a:schemeClr val="tx2"/>
                </a:solidFill>
              </a:rPr>
              <a:t>epo.org</a:t>
            </a:r>
          </a:p>
        </p:txBody>
      </p:sp>
      <p:cxnSp>
        <p:nvCxnSpPr>
          <p:cNvPr id="11" name="Gerader Verbinder 10">
            <a:extLst>
              <a:ext uri="{FF2B5EF4-FFF2-40B4-BE49-F238E27FC236}">
                <a16:creationId xmlns:a16="http://schemas.microsoft.com/office/drawing/2014/main" id="{68C71D9B-3390-74D0-E95D-7B30A72C7C3D}"/>
              </a:ext>
            </a:extLst>
          </p:cNvPr>
          <p:cNvCxnSpPr>
            <a:cxnSpLocks/>
          </p:cNvCxnSpPr>
          <p:nvPr userDrawn="1"/>
        </p:nvCxnSpPr>
        <p:spPr>
          <a:xfrm>
            <a:off x="1104900" y="678110"/>
            <a:ext cx="7696200" cy="0"/>
          </a:xfrm>
          <a:prstGeom prst="line">
            <a:avLst/>
          </a:prstGeom>
          <a:ln w="6350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5" name="Gruppieren 14">
            <a:extLst>
              <a:ext uri="{FF2B5EF4-FFF2-40B4-BE49-F238E27FC236}">
                <a16:creationId xmlns:a16="http://schemas.microsoft.com/office/drawing/2014/main" id="{1B77D430-E87B-310B-E3BE-DBD1F33EF42D}"/>
              </a:ext>
            </a:extLst>
          </p:cNvPr>
          <p:cNvGrpSpPr/>
          <p:nvPr userDrawn="1"/>
        </p:nvGrpSpPr>
        <p:grpSpPr>
          <a:xfrm>
            <a:off x="0" y="4869074"/>
            <a:ext cx="9144000" cy="274426"/>
            <a:chOff x="0" y="4869074"/>
            <a:chExt cx="9144000" cy="274426"/>
          </a:xfrm>
        </p:grpSpPr>
        <p:sp>
          <p:nvSpPr>
            <p:cNvPr id="12" name="Rechteck 11">
              <a:extLst>
                <a:ext uri="{FF2B5EF4-FFF2-40B4-BE49-F238E27FC236}">
                  <a16:creationId xmlns:a16="http://schemas.microsoft.com/office/drawing/2014/main" id="{4C636938-5352-9AF5-9CB3-6B7E7256D7E8}"/>
                </a:ext>
              </a:extLst>
            </p:cNvPr>
            <p:cNvSpPr/>
            <p:nvPr userDrawn="1"/>
          </p:nvSpPr>
          <p:spPr>
            <a:xfrm>
              <a:off x="0" y="4891500"/>
              <a:ext cx="9144000" cy="252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 kern="1200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14" name="Gerader Verbinder 13">
              <a:extLst>
                <a:ext uri="{FF2B5EF4-FFF2-40B4-BE49-F238E27FC236}">
                  <a16:creationId xmlns:a16="http://schemas.microsoft.com/office/drawing/2014/main" id="{A1247BF3-92BC-7C54-37E6-3D3B4B17537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0" y="4869074"/>
              <a:ext cx="9144000" cy="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99774404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_Picture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86701" y="804213"/>
            <a:ext cx="3888000" cy="554400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86701" y="1479553"/>
            <a:ext cx="3888000" cy="3108322"/>
          </a:xfrm>
        </p:spPr>
        <p:txBody>
          <a:bodyPr/>
          <a:lstStyle/>
          <a:p>
            <a:pPr marL="144000" indent="-144000" defTabSz="914126"/>
            <a:r>
              <a:rPr lang="en-US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401101" y="481662"/>
            <a:ext cx="5400000" cy="167675"/>
          </a:xfrm>
          <a:prstGeom prst="rect">
            <a:avLst/>
          </a:prstGeom>
        </p:spPr>
        <p:txBody>
          <a:bodyPr wrap="none" lIns="0" tIns="0" rIns="0" bIns="0" rtlCol="0" anchor="ctr">
            <a:noAutofit/>
          </a:bodyPr>
          <a:lstStyle>
            <a:lvl1pPr>
              <a:defRPr lang="de-DE" smtClean="0"/>
            </a:lvl1pPr>
          </a:lstStyle>
          <a:p>
            <a:r>
              <a:rPr lang="en-US"/>
              <a:t>Header</a:t>
            </a:r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261101" y="4640518"/>
            <a:ext cx="540000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de-DE" smtClean="0"/>
            </a:lvl1pPr>
          </a:lstStyle>
          <a:p>
            <a:fld id="{B6EAC15D-B94B-4B86-ABD3-3EDECDB333F5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158E7A34-8711-2493-68BA-16C316D70574}"/>
              </a:ext>
            </a:extLst>
          </p:cNvPr>
          <p:cNvSpPr txBox="1"/>
          <p:nvPr userDrawn="1"/>
        </p:nvSpPr>
        <p:spPr>
          <a:xfrm>
            <a:off x="8369893" y="687351"/>
            <a:ext cx="431208" cy="153888"/>
          </a:xfrm>
          <a:prstGeom prst="rect">
            <a:avLst/>
          </a:prstGeom>
        </p:spPr>
        <p:txBody>
          <a:bodyPr wrap="none" lIns="0" tIns="0" rIns="0" bIns="0" rtlCol="0" anchor="ctr">
            <a:spAutoFit/>
          </a:bodyPr>
          <a:lstStyle/>
          <a:p>
            <a:pPr marL="0" indent="0" algn="r">
              <a:lnSpc>
                <a:spcPct val="100000"/>
              </a:lnSpc>
              <a:buNone/>
            </a:pPr>
            <a:r>
              <a:rPr lang="en-GB" sz="1000" b="0" cap="none" baseline="0">
                <a:solidFill>
                  <a:schemeClr val="tx2"/>
                </a:solidFill>
              </a:rPr>
              <a:t>epo.org</a:t>
            </a:r>
          </a:p>
        </p:txBody>
      </p:sp>
      <p:sp>
        <p:nvSpPr>
          <p:cNvPr id="16" name="Bildplatzhalter 15">
            <a:extLst>
              <a:ext uri="{FF2B5EF4-FFF2-40B4-BE49-F238E27FC236}">
                <a16:creationId xmlns:a16="http://schemas.microsoft.com/office/drawing/2014/main" id="{FA933361-2A16-1071-85B6-0FD0AED8FDD0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4913101" y="1023939"/>
            <a:ext cx="3888000" cy="3563936"/>
          </a:xfrm>
          <a:gradFill>
            <a:gsLst>
              <a:gs pos="0">
                <a:schemeClr val="accent5"/>
              </a:gs>
              <a:gs pos="100000">
                <a:schemeClr val="accent4"/>
              </a:gs>
            </a:gsLst>
            <a:lin ang="18900000" scaled="1"/>
          </a:gradFill>
        </p:spPr>
        <p:txBody>
          <a:bodyPr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Insert picture by click or drag &amp; drop</a:t>
            </a:r>
          </a:p>
        </p:txBody>
      </p:sp>
      <p:cxnSp>
        <p:nvCxnSpPr>
          <p:cNvPr id="12" name="Gerader Verbinder 11">
            <a:extLst>
              <a:ext uri="{FF2B5EF4-FFF2-40B4-BE49-F238E27FC236}">
                <a16:creationId xmlns:a16="http://schemas.microsoft.com/office/drawing/2014/main" id="{F8157648-515A-D1B5-134E-DEC71E90FB48}"/>
              </a:ext>
            </a:extLst>
          </p:cNvPr>
          <p:cNvCxnSpPr>
            <a:cxnSpLocks/>
          </p:cNvCxnSpPr>
          <p:nvPr userDrawn="1"/>
        </p:nvCxnSpPr>
        <p:spPr>
          <a:xfrm>
            <a:off x="1104900" y="678110"/>
            <a:ext cx="7696200" cy="0"/>
          </a:xfrm>
          <a:prstGeom prst="line">
            <a:avLst/>
          </a:prstGeom>
          <a:ln w="6350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" name="Gruppieren 3">
            <a:extLst>
              <a:ext uri="{FF2B5EF4-FFF2-40B4-BE49-F238E27FC236}">
                <a16:creationId xmlns:a16="http://schemas.microsoft.com/office/drawing/2014/main" id="{3AC1BF25-E6D9-6B9F-26E5-02892A6DA4F9}"/>
              </a:ext>
            </a:extLst>
          </p:cNvPr>
          <p:cNvGrpSpPr/>
          <p:nvPr userDrawn="1"/>
        </p:nvGrpSpPr>
        <p:grpSpPr>
          <a:xfrm>
            <a:off x="0" y="4869074"/>
            <a:ext cx="9144000" cy="274426"/>
            <a:chOff x="0" y="4869074"/>
            <a:chExt cx="9144000" cy="274426"/>
          </a:xfrm>
        </p:grpSpPr>
        <p:sp>
          <p:nvSpPr>
            <p:cNvPr id="8" name="Rechteck 7">
              <a:extLst>
                <a:ext uri="{FF2B5EF4-FFF2-40B4-BE49-F238E27FC236}">
                  <a16:creationId xmlns:a16="http://schemas.microsoft.com/office/drawing/2014/main" id="{EE5865E5-01DF-3B09-ED88-724F1FAB44C3}"/>
                </a:ext>
              </a:extLst>
            </p:cNvPr>
            <p:cNvSpPr/>
            <p:nvPr userDrawn="1"/>
          </p:nvSpPr>
          <p:spPr>
            <a:xfrm>
              <a:off x="0" y="4891500"/>
              <a:ext cx="9144000" cy="252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 kern="1200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9" name="Gerader Verbinder 8">
              <a:extLst>
                <a:ext uri="{FF2B5EF4-FFF2-40B4-BE49-F238E27FC236}">
                  <a16:creationId xmlns:a16="http://schemas.microsoft.com/office/drawing/2014/main" id="{8151D5C1-BAF0-DDA3-EE76-C6F264F9783F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0" y="4869074"/>
              <a:ext cx="9144000" cy="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75565819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_Picture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15">
            <a:extLst>
              <a:ext uri="{FF2B5EF4-FFF2-40B4-BE49-F238E27FC236}">
                <a16:creationId xmlns:a16="http://schemas.microsoft.com/office/drawing/2014/main" id="{FA933361-2A16-1071-85B6-0FD0AED8FDD0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4913102" y="0"/>
            <a:ext cx="4230898" cy="4863600"/>
          </a:xfrm>
          <a:gradFill>
            <a:gsLst>
              <a:gs pos="0">
                <a:schemeClr val="accent5"/>
              </a:gs>
              <a:gs pos="100000">
                <a:schemeClr val="accent4"/>
              </a:gs>
            </a:gsLst>
            <a:lin ang="18900000" scaled="1"/>
          </a:gradFill>
        </p:spPr>
        <p:txBody>
          <a:bodyPr vert="horz" lIns="0" tIns="0" rIns="0" bIns="0" rtlCol="0">
            <a:noAutofit/>
          </a:bodyPr>
          <a:lstStyle>
            <a:lvl1pPr>
              <a:defRPr lang="en-GB" dirty="0"/>
            </a:lvl1pPr>
          </a:lstStyle>
          <a:p>
            <a:pPr marR="0" lvl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</a:pPr>
            <a:r>
              <a:rPr lang="en-US"/>
              <a:t>Insert picture by click or drag &amp; drop</a:t>
            </a:r>
            <a:endParaRPr lang="en-GB" sz="600">
              <a:solidFill>
                <a:schemeClr val="tx1"/>
              </a:solidFill>
              <a:latin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86701" y="804213"/>
            <a:ext cx="3888000" cy="554400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86701" y="1479553"/>
            <a:ext cx="3888000" cy="3108322"/>
          </a:xfrm>
        </p:spPr>
        <p:txBody>
          <a:bodyPr/>
          <a:lstStyle>
            <a:lvl3pPr>
              <a:defRPr/>
            </a:lvl3pPr>
          </a:lstStyle>
          <a:p>
            <a:pPr marL="144000" indent="-144000" defTabSz="914126"/>
            <a:r>
              <a:rPr lang="en-US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grpSp>
        <p:nvGrpSpPr>
          <p:cNvPr id="4" name="Gruppieren 3">
            <a:extLst>
              <a:ext uri="{FF2B5EF4-FFF2-40B4-BE49-F238E27FC236}">
                <a16:creationId xmlns:a16="http://schemas.microsoft.com/office/drawing/2014/main" id="{7BF77460-C0EB-A994-5886-0A974DA59062}"/>
              </a:ext>
            </a:extLst>
          </p:cNvPr>
          <p:cNvGrpSpPr/>
          <p:nvPr userDrawn="1"/>
        </p:nvGrpSpPr>
        <p:grpSpPr>
          <a:xfrm>
            <a:off x="0" y="4869074"/>
            <a:ext cx="9144000" cy="274426"/>
            <a:chOff x="0" y="4869074"/>
            <a:chExt cx="9144000" cy="274426"/>
          </a:xfrm>
        </p:grpSpPr>
        <p:sp>
          <p:nvSpPr>
            <p:cNvPr id="5" name="Rechteck 4">
              <a:extLst>
                <a:ext uri="{FF2B5EF4-FFF2-40B4-BE49-F238E27FC236}">
                  <a16:creationId xmlns:a16="http://schemas.microsoft.com/office/drawing/2014/main" id="{AAD09846-2214-27B4-826C-CB05CBB83834}"/>
                </a:ext>
              </a:extLst>
            </p:cNvPr>
            <p:cNvSpPr/>
            <p:nvPr userDrawn="1"/>
          </p:nvSpPr>
          <p:spPr>
            <a:xfrm>
              <a:off x="0" y="4891500"/>
              <a:ext cx="9144000" cy="252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 kern="1200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7" name="Gerader Verbinder 6">
              <a:extLst>
                <a:ext uri="{FF2B5EF4-FFF2-40B4-BE49-F238E27FC236}">
                  <a16:creationId xmlns:a16="http://schemas.microsoft.com/office/drawing/2014/main" id="{59024B14-472F-BF2D-2815-8CB79E357277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0" y="4869074"/>
              <a:ext cx="9144000" cy="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32823363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86701" y="804213"/>
            <a:ext cx="8114400" cy="553998"/>
          </a:xfrm>
        </p:spPr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401101" y="481662"/>
            <a:ext cx="5400000" cy="167675"/>
          </a:xfrm>
          <a:prstGeom prst="rect">
            <a:avLst/>
          </a:prstGeom>
        </p:spPr>
        <p:txBody>
          <a:bodyPr wrap="none" lIns="0" tIns="0" rIns="0" bIns="0" rtlCol="0" anchor="ctr">
            <a:noAutofit/>
          </a:bodyPr>
          <a:lstStyle>
            <a:lvl1pPr>
              <a:defRPr lang="de-DE" smtClean="0"/>
            </a:lvl1pPr>
          </a:lstStyle>
          <a:p>
            <a:r>
              <a:rPr lang="en-US"/>
              <a:t>Header</a:t>
            </a:r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261101" y="4640518"/>
            <a:ext cx="540000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smtClean="0"/>
            </a:lvl1pPr>
          </a:lstStyle>
          <a:p>
            <a:fld id="{B6EAC15D-B94B-4B86-ABD3-3EDECDB333F5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158E7A34-8711-2493-68BA-16C316D70574}"/>
              </a:ext>
            </a:extLst>
          </p:cNvPr>
          <p:cNvSpPr txBox="1"/>
          <p:nvPr userDrawn="1"/>
        </p:nvSpPr>
        <p:spPr>
          <a:xfrm>
            <a:off x="8369893" y="687351"/>
            <a:ext cx="431208" cy="153888"/>
          </a:xfrm>
          <a:prstGeom prst="rect">
            <a:avLst/>
          </a:prstGeom>
        </p:spPr>
        <p:txBody>
          <a:bodyPr wrap="none" lIns="0" tIns="0" rIns="0" bIns="0" rtlCol="0" anchor="ctr">
            <a:spAutoFit/>
          </a:bodyPr>
          <a:lstStyle/>
          <a:p>
            <a:pPr marL="0" indent="0" algn="r">
              <a:lnSpc>
                <a:spcPct val="100000"/>
              </a:lnSpc>
              <a:buNone/>
            </a:pPr>
            <a:r>
              <a:rPr lang="en-GB" sz="1000" b="0" cap="none" baseline="0">
                <a:solidFill>
                  <a:schemeClr val="tx2"/>
                </a:solidFill>
              </a:rPr>
              <a:t>epo.org</a:t>
            </a:r>
          </a:p>
        </p:txBody>
      </p:sp>
      <p:cxnSp>
        <p:nvCxnSpPr>
          <p:cNvPr id="9" name="Gerader Verbinder 8">
            <a:extLst>
              <a:ext uri="{FF2B5EF4-FFF2-40B4-BE49-F238E27FC236}">
                <a16:creationId xmlns:a16="http://schemas.microsoft.com/office/drawing/2014/main" id="{48A120DA-BC2D-9678-15F4-8D7B09E02FD7}"/>
              </a:ext>
            </a:extLst>
          </p:cNvPr>
          <p:cNvCxnSpPr>
            <a:cxnSpLocks/>
          </p:cNvCxnSpPr>
          <p:nvPr userDrawn="1"/>
        </p:nvCxnSpPr>
        <p:spPr>
          <a:xfrm>
            <a:off x="1104900" y="678110"/>
            <a:ext cx="7696200" cy="0"/>
          </a:xfrm>
          <a:prstGeom prst="line">
            <a:avLst/>
          </a:prstGeom>
          <a:ln w="6350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4" name="Gruppieren 13">
            <a:extLst>
              <a:ext uri="{FF2B5EF4-FFF2-40B4-BE49-F238E27FC236}">
                <a16:creationId xmlns:a16="http://schemas.microsoft.com/office/drawing/2014/main" id="{4E24297B-E90A-DBCD-7CF1-D8905905AF77}"/>
              </a:ext>
            </a:extLst>
          </p:cNvPr>
          <p:cNvGrpSpPr/>
          <p:nvPr userDrawn="1"/>
        </p:nvGrpSpPr>
        <p:grpSpPr>
          <a:xfrm>
            <a:off x="0" y="4869074"/>
            <a:ext cx="9144000" cy="274426"/>
            <a:chOff x="0" y="4869074"/>
            <a:chExt cx="9144000" cy="274426"/>
          </a:xfrm>
        </p:grpSpPr>
        <p:sp>
          <p:nvSpPr>
            <p:cNvPr id="15" name="Rechteck 14">
              <a:extLst>
                <a:ext uri="{FF2B5EF4-FFF2-40B4-BE49-F238E27FC236}">
                  <a16:creationId xmlns:a16="http://schemas.microsoft.com/office/drawing/2014/main" id="{3FFC302C-4D21-5D23-A91D-4947AAB3254D}"/>
                </a:ext>
              </a:extLst>
            </p:cNvPr>
            <p:cNvSpPr/>
            <p:nvPr userDrawn="1"/>
          </p:nvSpPr>
          <p:spPr>
            <a:xfrm>
              <a:off x="0" y="4891500"/>
              <a:ext cx="9144000" cy="252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 kern="1200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16" name="Gerader Verbinder 15">
              <a:extLst>
                <a:ext uri="{FF2B5EF4-FFF2-40B4-BE49-F238E27FC236}">
                  <a16:creationId xmlns:a16="http://schemas.microsoft.com/office/drawing/2014/main" id="{4DFEE82A-E409-6C0A-EADC-6ACCDCA3953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0" y="4869074"/>
              <a:ext cx="9144000" cy="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8" name="Diagrammplatzhalter 7">
            <a:extLst>
              <a:ext uri="{FF2B5EF4-FFF2-40B4-BE49-F238E27FC236}">
                <a16:creationId xmlns:a16="http://schemas.microsoft.com/office/drawing/2014/main" id="{6C0879E9-BFEF-C349-C713-C1855D3613B8}"/>
              </a:ext>
            </a:extLst>
          </p:cNvPr>
          <p:cNvSpPr>
            <a:spLocks noGrp="1"/>
          </p:cNvSpPr>
          <p:nvPr>
            <p:ph type="chart" sz="quarter" idx="13" hasCustomPrompt="1"/>
          </p:nvPr>
        </p:nvSpPr>
        <p:spPr>
          <a:xfrm>
            <a:off x="686701" y="1479553"/>
            <a:ext cx="8114400" cy="3106800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Insert chart by click</a:t>
            </a:r>
          </a:p>
        </p:txBody>
      </p:sp>
    </p:spTree>
    <p:extLst>
      <p:ext uri="{BB962C8B-B14F-4D97-AF65-F5344CB8AC3E}">
        <p14:creationId xmlns:p14="http://schemas.microsoft.com/office/powerpoint/2010/main" val="264549241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Bildplatzhalter 14">
            <a:extLst>
              <a:ext uri="{FF2B5EF4-FFF2-40B4-BE49-F238E27FC236}">
                <a16:creationId xmlns:a16="http://schemas.microsoft.com/office/drawing/2014/main" id="{B7548A03-C3E4-EE67-1091-578BF14CDAD4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9143995" cy="4863600"/>
          </a:xfrm>
          <a:custGeom>
            <a:avLst/>
            <a:gdLst>
              <a:gd name="connsiteX0" fmla="*/ 342900 w 9143995"/>
              <a:gd name="connsiteY0" fmla="*/ 340872 h 4863600"/>
              <a:gd name="connsiteX1" fmla="*/ 342900 w 9143995"/>
              <a:gd name="connsiteY1" fmla="*/ 682872 h 4863600"/>
              <a:gd name="connsiteX2" fmla="*/ 1025873 w 9143995"/>
              <a:gd name="connsiteY2" fmla="*/ 682872 h 4863600"/>
              <a:gd name="connsiteX3" fmla="*/ 1025873 w 9143995"/>
              <a:gd name="connsiteY3" fmla="*/ 340872 h 4863600"/>
              <a:gd name="connsiteX4" fmla="*/ 0 w 9143995"/>
              <a:gd name="connsiteY4" fmla="*/ 0 h 4863600"/>
              <a:gd name="connsiteX5" fmla="*/ 9143995 w 9143995"/>
              <a:gd name="connsiteY5" fmla="*/ 0 h 4863600"/>
              <a:gd name="connsiteX6" fmla="*/ 9143995 w 9143995"/>
              <a:gd name="connsiteY6" fmla="*/ 4863600 h 4863600"/>
              <a:gd name="connsiteX7" fmla="*/ 0 w 9143995"/>
              <a:gd name="connsiteY7" fmla="*/ 4863600 h 486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9143995" h="4863600">
                <a:moveTo>
                  <a:pt x="342900" y="340872"/>
                </a:moveTo>
                <a:lnTo>
                  <a:pt x="342900" y="682872"/>
                </a:lnTo>
                <a:lnTo>
                  <a:pt x="1025873" y="682872"/>
                </a:lnTo>
                <a:lnTo>
                  <a:pt x="1025873" y="340872"/>
                </a:lnTo>
                <a:close/>
                <a:moveTo>
                  <a:pt x="0" y="0"/>
                </a:moveTo>
                <a:lnTo>
                  <a:pt x="9143995" y="0"/>
                </a:lnTo>
                <a:lnTo>
                  <a:pt x="9143995" y="4863600"/>
                </a:lnTo>
                <a:lnTo>
                  <a:pt x="0" y="4863600"/>
                </a:lnTo>
                <a:close/>
              </a:path>
            </a:pathLst>
          </a:custGeom>
          <a:gradFill>
            <a:gsLst>
              <a:gs pos="0">
                <a:schemeClr val="accent5"/>
              </a:gs>
              <a:gs pos="100000">
                <a:schemeClr val="accent4"/>
              </a:gs>
            </a:gsLst>
            <a:lin ang="18900000" scaled="1"/>
          </a:gradFill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</a:lstStyle>
          <a:p>
            <a:pPr marR="0" lvl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</a:pPr>
            <a:r>
              <a:rPr lang="en-US"/>
              <a:t>Insert picture by click or drag &amp; drop</a:t>
            </a:r>
          </a:p>
        </p:txBody>
      </p:sp>
      <p:grpSp>
        <p:nvGrpSpPr>
          <p:cNvPr id="2" name="Gruppieren 1">
            <a:extLst>
              <a:ext uri="{FF2B5EF4-FFF2-40B4-BE49-F238E27FC236}">
                <a16:creationId xmlns:a16="http://schemas.microsoft.com/office/drawing/2014/main" id="{5B9A14ED-FDE8-2DA8-D296-27673B8D1A19}"/>
              </a:ext>
            </a:extLst>
          </p:cNvPr>
          <p:cNvGrpSpPr/>
          <p:nvPr userDrawn="1"/>
        </p:nvGrpSpPr>
        <p:grpSpPr>
          <a:xfrm>
            <a:off x="0" y="4869074"/>
            <a:ext cx="9144000" cy="274426"/>
            <a:chOff x="0" y="4869074"/>
            <a:chExt cx="9144000" cy="274426"/>
          </a:xfrm>
        </p:grpSpPr>
        <p:sp>
          <p:nvSpPr>
            <p:cNvPr id="3" name="Rechteck 2">
              <a:extLst>
                <a:ext uri="{FF2B5EF4-FFF2-40B4-BE49-F238E27FC236}">
                  <a16:creationId xmlns:a16="http://schemas.microsoft.com/office/drawing/2014/main" id="{EA0D4F8F-FECA-B3D7-D435-E79C4E17191C}"/>
                </a:ext>
              </a:extLst>
            </p:cNvPr>
            <p:cNvSpPr/>
            <p:nvPr userDrawn="1"/>
          </p:nvSpPr>
          <p:spPr>
            <a:xfrm>
              <a:off x="0" y="4891500"/>
              <a:ext cx="9144000" cy="252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 kern="1200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4" name="Gerader Verbinder 3">
              <a:extLst>
                <a:ext uri="{FF2B5EF4-FFF2-40B4-BE49-F238E27FC236}">
                  <a16:creationId xmlns:a16="http://schemas.microsoft.com/office/drawing/2014/main" id="{05E8A595-8D84-2D41-50A3-7C6BD341E24C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0" y="4869074"/>
              <a:ext cx="9144000" cy="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70298874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02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84213" y="1358795"/>
            <a:ext cx="8116887" cy="1335591"/>
          </a:xfrm>
        </p:spPr>
        <p:txBody>
          <a:bodyPr wrap="square" lIns="0" tIns="0" rIns="0" bIns="0" rtlCol="0" anchor="b" anchorCtr="0">
            <a:noAutofit/>
          </a:bodyPr>
          <a:lstStyle>
            <a:lvl1pPr>
              <a:defRPr lang="en-US" sz="2400" spc="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defTabSz="914103">
              <a:spcBef>
                <a:spcPct val="0"/>
              </a:spcBef>
            </a:pPr>
            <a:r>
              <a:rPr lang="de-DE"/>
              <a:t>tit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84213" y="2732486"/>
            <a:ext cx="8116887" cy="1503854"/>
          </a:xfrm>
        </p:spPr>
        <p:txBody>
          <a:bodyPr vert="horz" wrap="square" lIns="0" tIns="0" rIns="0" bIns="0" rtlCol="0" anchor="t" anchorCtr="0">
            <a:noAutofit/>
          </a:bodyPr>
          <a:lstStyle>
            <a:lvl1pPr>
              <a:lnSpc>
                <a:spcPct val="100000"/>
              </a:lnSpc>
              <a:defRPr lang="en-US" sz="900" cap="all" spc="0" baseline="0" dirty="0">
                <a:solidFill>
                  <a:schemeClr val="bg1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/>
              <a:t>Name surname | position department | date</a:t>
            </a:r>
          </a:p>
        </p:txBody>
      </p:sp>
      <p:sp>
        <p:nvSpPr>
          <p:cNvPr id="20" name="Textfeld 19">
            <a:extLst>
              <a:ext uri="{FF2B5EF4-FFF2-40B4-BE49-F238E27FC236}">
                <a16:creationId xmlns:a16="http://schemas.microsoft.com/office/drawing/2014/main" id="{729BDCAE-6710-1678-5AC3-706A77EE79A6}"/>
              </a:ext>
            </a:extLst>
          </p:cNvPr>
          <p:cNvSpPr txBox="1"/>
          <p:nvPr userDrawn="1"/>
        </p:nvSpPr>
        <p:spPr>
          <a:xfrm>
            <a:off x="8379417" y="4452668"/>
            <a:ext cx="431208" cy="153888"/>
          </a:xfrm>
          <a:prstGeom prst="rect">
            <a:avLst/>
          </a:prstGeom>
        </p:spPr>
        <p:txBody>
          <a:bodyPr wrap="none" lIns="0" tIns="0" rIns="0" bIns="0" rtlCol="0" anchor="ctr">
            <a:spAutoFit/>
          </a:bodyPr>
          <a:lstStyle/>
          <a:p>
            <a:pPr marL="0" indent="0" algn="r">
              <a:lnSpc>
                <a:spcPct val="100000"/>
              </a:lnSpc>
              <a:buNone/>
            </a:pPr>
            <a:r>
              <a:rPr lang="en-GB" sz="1000" b="0" cap="none" baseline="0">
                <a:solidFill>
                  <a:schemeClr val="bg1"/>
                </a:solidFill>
              </a:rPr>
              <a:t>epo.org</a:t>
            </a:r>
          </a:p>
        </p:txBody>
      </p:sp>
      <p:cxnSp>
        <p:nvCxnSpPr>
          <p:cNvPr id="24" name="Gerader Verbinder 23">
            <a:extLst>
              <a:ext uri="{FF2B5EF4-FFF2-40B4-BE49-F238E27FC236}">
                <a16:creationId xmlns:a16="http://schemas.microsoft.com/office/drawing/2014/main" id="{82EB119C-33EF-6385-B4B9-15B962CD3261}"/>
              </a:ext>
            </a:extLst>
          </p:cNvPr>
          <p:cNvCxnSpPr>
            <a:cxnSpLocks/>
          </p:cNvCxnSpPr>
          <p:nvPr userDrawn="1"/>
        </p:nvCxnSpPr>
        <p:spPr>
          <a:xfrm>
            <a:off x="684213" y="2693196"/>
            <a:ext cx="8116887" cy="0"/>
          </a:xfrm>
          <a:prstGeom prst="line">
            <a:avLst/>
          </a:prstGeom>
          <a:ln w="6350">
            <a:solidFill>
              <a:schemeClr val="bg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EPO LOGO-50 Years EPC-2-white-01.png" descr="EPO LOGO-50 Years EPC-2-white-01.png">
            <a:extLst>
              <a:ext uri="{FF2B5EF4-FFF2-40B4-BE49-F238E27FC236}">
                <a16:creationId xmlns:a16="http://schemas.microsoft.com/office/drawing/2014/main" id="{82141816-9449-F33D-D8C5-6F709A36E66F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35757" y="336110"/>
            <a:ext cx="1972800" cy="354277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124521778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2">
            <a:extLst>
              <a:ext uri="{FF2B5EF4-FFF2-40B4-BE49-F238E27FC236}">
                <a16:creationId xmlns:a16="http://schemas.microsoft.com/office/drawing/2014/main" id="{3AA23E33-4616-A578-6786-DB1BF1C3FD35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9143995" cy="5143500"/>
          </a:xfrm>
          <a:custGeom>
            <a:avLst/>
            <a:gdLst>
              <a:gd name="connsiteX0" fmla="*/ 342900 w 9143995"/>
              <a:gd name="connsiteY0" fmla="*/ 340872 h 5143500"/>
              <a:gd name="connsiteX1" fmla="*/ 342900 w 9143995"/>
              <a:gd name="connsiteY1" fmla="*/ 682872 h 5143500"/>
              <a:gd name="connsiteX2" fmla="*/ 1025873 w 9143995"/>
              <a:gd name="connsiteY2" fmla="*/ 682872 h 5143500"/>
              <a:gd name="connsiteX3" fmla="*/ 1025873 w 9143995"/>
              <a:gd name="connsiteY3" fmla="*/ 340872 h 5143500"/>
              <a:gd name="connsiteX4" fmla="*/ 0 w 9143995"/>
              <a:gd name="connsiteY4" fmla="*/ 0 h 5143500"/>
              <a:gd name="connsiteX5" fmla="*/ 9143995 w 9143995"/>
              <a:gd name="connsiteY5" fmla="*/ 0 h 5143500"/>
              <a:gd name="connsiteX6" fmla="*/ 9143995 w 9143995"/>
              <a:gd name="connsiteY6" fmla="*/ 5143500 h 5143500"/>
              <a:gd name="connsiteX7" fmla="*/ 0 w 9143995"/>
              <a:gd name="connsiteY7" fmla="*/ 5143500 h 5143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9143995" h="5143500">
                <a:moveTo>
                  <a:pt x="342900" y="340872"/>
                </a:moveTo>
                <a:lnTo>
                  <a:pt x="342900" y="682872"/>
                </a:lnTo>
                <a:lnTo>
                  <a:pt x="1025873" y="682872"/>
                </a:lnTo>
                <a:lnTo>
                  <a:pt x="1025873" y="340872"/>
                </a:lnTo>
                <a:close/>
                <a:moveTo>
                  <a:pt x="0" y="0"/>
                </a:moveTo>
                <a:lnTo>
                  <a:pt x="9143995" y="0"/>
                </a:lnTo>
                <a:lnTo>
                  <a:pt x="9143995" y="5143500"/>
                </a:lnTo>
                <a:lnTo>
                  <a:pt x="0" y="5143500"/>
                </a:lnTo>
                <a:close/>
              </a:path>
            </a:pathLst>
          </a:custGeom>
          <a:gradFill>
            <a:gsLst>
              <a:gs pos="0">
                <a:schemeClr val="accent5"/>
              </a:gs>
              <a:gs pos="100000">
                <a:schemeClr val="accent4"/>
              </a:gs>
            </a:gsLst>
            <a:lin ang="18900000" scaled="1"/>
          </a:gradFill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</a:lstStyle>
          <a:p>
            <a:pPr marR="0" lvl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</a:pPr>
            <a:r>
              <a:rPr lang="en-US"/>
              <a:t>Insert picture by click or drag &amp; drop</a:t>
            </a:r>
          </a:p>
        </p:txBody>
      </p:sp>
      <p:sp>
        <p:nvSpPr>
          <p:cNvPr id="9" name="Textplatzhalter 3">
            <a:extLst>
              <a:ext uri="{FF2B5EF4-FFF2-40B4-BE49-F238E27FC236}">
                <a16:creationId xmlns:a16="http://schemas.microsoft.com/office/drawing/2014/main" id="{DF64C113-52EE-846A-8828-23E9EA7D6DC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86701" y="3567216"/>
            <a:ext cx="8114400" cy="923330"/>
          </a:xfr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rm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lang="de-DE" sz="2000" dirty="0" smtClean="0">
                <a:solidFill>
                  <a:schemeClr val="bg1"/>
                </a:solidFill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  <a:lvl2pPr>
              <a:defRPr lang="de-DE" sz="1800" dirty="0" smtClean="0">
                <a:solidFill>
                  <a:schemeClr val="lt1"/>
                </a:solidFill>
              </a:defRPr>
            </a:lvl2pPr>
            <a:lvl3pPr>
              <a:defRPr lang="de-DE" sz="1800" dirty="0" smtClean="0">
                <a:solidFill>
                  <a:schemeClr val="lt1"/>
                </a:solidFill>
              </a:defRPr>
            </a:lvl3pPr>
            <a:lvl4pPr>
              <a:defRPr lang="de-DE" sz="1800" dirty="0" smtClean="0">
                <a:solidFill>
                  <a:schemeClr val="lt1"/>
                </a:solidFill>
              </a:defRPr>
            </a:lvl4pPr>
            <a:lvl5pPr>
              <a:defRPr lang="en-GB" sz="1800" dirty="0">
                <a:solidFill>
                  <a:schemeClr val="lt1"/>
                </a:solidFill>
              </a:defRPr>
            </a:lvl5pPr>
          </a:lstStyle>
          <a:p>
            <a:pPr lvl="0" defTabSz="457200"/>
            <a:r>
              <a:rPr lang="en-GB"/>
              <a:t>Author</a:t>
            </a:r>
            <a:br>
              <a:rPr lang="en-GB"/>
            </a:br>
            <a:r>
              <a:rPr lang="en-GB"/>
              <a:t>(xxxx – xxxx)</a:t>
            </a:r>
          </a:p>
        </p:txBody>
      </p:sp>
      <p:sp>
        <p:nvSpPr>
          <p:cNvPr id="14" name="Textplatzhalter 3">
            <a:extLst>
              <a:ext uri="{FF2B5EF4-FFF2-40B4-BE49-F238E27FC236}">
                <a16:creationId xmlns:a16="http://schemas.microsoft.com/office/drawing/2014/main" id="{91D8BB96-81E8-6115-5996-0E8936014C3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86701" y="1923371"/>
            <a:ext cx="8114400" cy="1477328"/>
          </a:xfrm>
        </p:spPr>
        <p:txBody>
          <a:bodyPr anchor="b">
            <a:norm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3200" cap="all" baseline="0">
                <a:solidFill>
                  <a:schemeClr val="bg1"/>
                </a:solidFill>
              </a:defRPr>
            </a:lvl1pPr>
          </a:lstStyle>
          <a:p>
            <a:pPr marL="144000" indent="-144000" defTabSz="914126"/>
            <a:r>
              <a:rPr lang="en-GB"/>
              <a:t>quotation</a:t>
            </a:r>
          </a:p>
        </p:txBody>
      </p:sp>
    </p:spTree>
    <p:extLst>
      <p:ext uri="{BB962C8B-B14F-4D97-AF65-F5344CB8AC3E}">
        <p14:creationId xmlns:p14="http://schemas.microsoft.com/office/powerpoint/2010/main" val="310475666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401101" y="481662"/>
            <a:ext cx="5400000" cy="167675"/>
          </a:xfrm>
          <a:prstGeom prst="rect">
            <a:avLst/>
          </a:prstGeom>
        </p:spPr>
        <p:txBody>
          <a:bodyPr wrap="none" lIns="0" tIns="0" rIns="0" bIns="0" rtlCol="0" anchor="ctr">
            <a:noAutofit/>
          </a:bodyPr>
          <a:lstStyle>
            <a:lvl1pPr>
              <a:defRPr lang="de-DE" smtClean="0"/>
            </a:lvl1pPr>
          </a:lstStyle>
          <a:p>
            <a:r>
              <a:rPr lang="en-US"/>
              <a:t>Header</a:t>
            </a:r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261101" y="4640518"/>
            <a:ext cx="540000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smtClean="0"/>
            </a:lvl1pPr>
          </a:lstStyle>
          <a:p>
            <a:fld id="{B6EAC15D-B94B-4B86-ABD3-3EDECDB333F5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158E7A34-8711-2493-68BA-16C316D70574}"/>
              </a:ext>
            </a:extLst>
          </p:cNvPr>
          <p:cNvSpPr txBox="1"/>
          <p:nvPr userDrawn="1"/>
        </p:nvSpPr>
        <p:spPr>
          <a:xfrm>
            <a:off x="8369893" y="687351"/>
            <a:ext cx="431208" cy="153888"/>
          </a:xfrm>
          <a:prstGeom prst="rect">
            <a:avLst/>
          </a:prstGeom>
        </p:spPr>
        <p:txBody>
          <a:bodyPr wrap="none" lIns="0" tIns="0" rIns="0" bIns="0" rtlCol="0" anchor="ctr">
            <a:spAutoFit/>
          </a:bodyPr>
          <a:lstStyle/>
          <a:p>
            <a:pPr marL="0" indent="0" algn="r">
              <a:lnSpc>
                <a:spcPct val="100000"/>
              </a:lnSpc>
              <a:buNone/>
            </a:pPr>
            <a:r>
              <a:rPr lang="en-GB" sz="1000" b="0" cap="none" baseline="0">
                <a:solidFill>
                  <a:schemeClr val="tx2"/>
                </a:solidFill>
              </a:rPr>
              <a:t>epo.org</a:t>
            </a:r>
          </a:p>
        </p:txBody>
      </p:sp>
      <p:cxnSp>
        <p:nvCxnSpPr>
          <p:cNvPr id="9" name="Gerader Verbinder 8">
            <a:extLst>
              <a:ext uri="{FF2B5EF4-FFF2-40B4-BE49-F238E27FC236}">
                <a16:creationId xmlns:a16="http://schemas.microsoft.com/office/drawing/2014/main" id="{48A120DA-BC2D-9678-15F4-8D7B09E02FD7}"/>
              </a:ext>
            </a:extLst>
          </p:cNvPr>
          <p:cNvCxnSpPr>
            <a:cxnSpLocks/>
          </p:cNvCxnSpPr>
          <p:nvPr userDrawn="1"/>
        </p:nvCxnSpPr>
        <p:spPr>
          <a:xfrm>
            <a:off x="1104900" y="678110"/>
            <a:ext cx="7696200" cy="0"/>
          </a:xfrm>
          <a:prstGeom prst="line">
            <a:avLst/>
          </a:prstGeom>
          <a:ln w="6350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" name="Gruppieren 1">
            <a:extLst>
              <a:ext uri="{FF2B5EF4-FFF2-40B4-BE49-F238E27FC236}">
                <a16:creationId xmlns:a16="http://schemas.microsoft.com/office/drawing/2014/main" id="{DB5D331F-662C-B228-A57E-2B659E5222FC}"/>
              </a:ext>
            </a:extLst>
          </p:cNvPr>
          <p:cNvGrpSpPr/>
          <p:nvPr userDrawn="1"/>
        </p:nvGrpSpPr>
        <p:grpSpPr>
          <a:xfrm>
            <a:off x="0" y="4869074"/>
            <a:ext cx="9144000" cy="274426"/>
            <a:chOff x="0" y="4869074"/>
            <a:chExt cx="9144000" cy="274426"/>
          </a:xfrm>
        </p:grpSpPr>
        <p:sp>
          <p:nvSpPr>
            <p:cNvPr id="3" name="Rechteck 2">
              <a:extLst>
                <a:ext uri="{FF2B5EF4-FFF2-40B4-BE49-F238E27FC236}">
                  <a16:creationId xmlns:a16="http://schemas.microsoft.com/office/drawing/2014/main" id="{FE4AD116-C40E-F67F-ACC4-797445D2DA22}"/>
                </a:ext>
              </a:extLst>
            </p:cNvPr>
            <p:cNvSpPr/>
            <p:nvPr userDrawn="1"/>
          </p:nvSpPr>
          <p:spPr>
            <a:xfrm>
              <a:off x="0" y="4891500"/>
              <a:ext cx="9144000" cy="252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 kern="1200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4" name="Gerader Verbinder 3">
              <a:extLst>
                <a:ext uri="{FF2B5EF4-FFF2-40B4-BE49-F238E27FC236}">
                  <a16:creationId xmlns:a16="http://schemas.microsoft.com/office/drawing/2014/main" id="{FA1099DB-746B-DA36-6B2D-1414AFD656FF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0" y="4869074"/>
              <a:ext cx="9144000" cy="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60688072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Divider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15">
            <a:extLst>
              <a:ext uri="{FF2B5EF4-FFF2-40B4-BE49-F238E27FC236}">
                <a16:creationId xmlns:a16="http://schemas.microsoft.com/office/drawing/2014/main" id="{FA933361-2A16-1071-85B6-0FD0AED8FDD0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4914000" y="0"/>
            <a:ext cx="4230000" cy="4863600"/>
          </a:xfrm>
          <a:gradFill>
            <a:gsLst>
              <a:gs pos="0">
                <a:schemeClr val="accent5"/>
              </a:gs>
              <a:gs pos="100000">
                <a:schemeClr val="accent4"/>
              </a:gs>
            </a:gsLst>
            <a:lin ang="18900000" scaled="1"/>
          </a:gradFill>
        </p:spPr>
        <p:txBody>
          <a:bodyPr vert="horz" lIns="0" tIns="0" rIns="0" bIns="0" rtlCol="0">
            <a:noAutofit/>
          </a:bodyPr>
          <a:lstStyle>
            <a:lvl1pPr>
              <a:defRPr lang="en-GB" dirty="0"/>
            </a:lvl1pPr>
          </a:lstStyle>
          <a:p>
            <a:pPr marR="0" lvl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</a:pPr>
            <a:r>
              <a:rPr lang="en-GB"/>
              <a:t>Insert picture by click or drag &amp; drop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86701" y="1023937"/>
            <a:ext cx="3888000" cy="1678921"/>
          </a:xfrm>
        </p:spPr>
        <p:txBody>
          <a:bodyPr lIns="0" tIns="0" rIns="0" bIns="0" anchor="b" anchorCtr="0">
            <a:normAutofit/>
          </a:bodyPr>
          <a:lstStyle>
            <a:lvl1pPr>
              <a:defRPr sz="2800">
                <a:solidFill>
                  <a:schemeClr val="accent6"/>
                </a:solidFill>
              </a:defRPr>
            </a:lvl1pPr>
          </a:lstStyle>
          <a:p>
            <a:r>
              <a:rPr lang="en-GB"/>
              <a:t>Click to edit chapter title</a:t>
            </a:r>
          </a:p>
        </p:txBody>
      </p:sp>
      <p:grpSp>
        <p:nvGrpSpPr>
          <p:cNvPr id="3" name="Gruppieren 2">
            <a:extLst>
              <a:ext uri="{FF2B5EF4-FFF2-40B4-BE49-F238E27FC236}">
                <a16:creationId xmlns:a16="http://schemas.microsoft.com/office/drawing/2014/main" id="{3CB2633E-57A5-FEF5-1BCF-FD563428FC66}"/>
              </a:ext>
            </a:extLst>
          </p:cNvPr>
          <p:cNvGrpSpPr/>
          <p:nvPr userDrawn="1"/>
        </p:nvGrpSpPr>
        <p:grpSpPr>
          <a:xfrm>
            <a:off x="0" y="4869074"/>
            <a:ext cx="9144000" cy="274426"/>
            <a:chOff x="0" y="4869074"/>
            <a:chExt cx="9144000" cy="274426"/>
          </a:xfrm>
        </p:grpSpPr>
        <p:sp>
          <p:nvSpPr>
            <p:cNvPr id="4" name="Rechteck 3">
              <a:extLst>
                <a:ext uri="{FF2B5EF4-FFF2-40B4-BE49-F238E27FC236}">
                  <a16:creationId xmlns:a16="http://schemas.microsoft.com/office/drawing/2014/main" id="{F4301F65-9118-6CAF-A653-29C5E5F5A6A8}"/>
                </a:ext>
              </a:extLst>
            </p:cNvPr>
            <p:cNvSpPr/>
            <p:nvPr userDrawn="1"/>
          </p:nvSpPr>
          <p:spPr>
            <a:xfrm>
              <a:off x="0" y="4891500"/>
              <a:ext cx="9144000" cy="252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 kern="1200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5" name="Gerader Verbinder 4">
              <a:extLst>
                <a:ext uri="{FF2B5EF4-FFF2-40B4-BE49-F238E27FC236}">
                  <a16:creationId xmlns:a16="http://schemas.microsoft.com/office/drawing/2014/main" id="{BFF257C6-4CA6-2336-F142-A9663AE595B8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0" y="4869074"/>
              <a:ext cx="9144000" cy="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E83FD0DA-A651-4539-1919-3D36EE53FB3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86914" y="2671905"/>
            <a:ext cx="3887787" cy="511175"/>
          </a:xfrm>
        </p:spPr>
        <p:txBody>
          <a:bodyPr/>
          <a:lstStyle>
            <a:lvl1pPr>
              <a:lnSpc>
                <a:spcPct val="100000"/>
              </a:lnSpc>
              <a:defRPr sz="180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/>
              <a:t>Click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35425776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Divider 02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>
            <a:extLst>
              <a:ext uri="{FF2B5EF4-FFF2-40B4-BE49-F238E27FC236}">
                <a16:creationId xmlns:a16="http://schemas.microsoft.com/office/drawing/2014/main" id="{3592F6BB-121D-97D7-11F5-8E348780690E}"/>
              </a:ext>
            </a:extLst>
          </p:cNvPr>
          <p:cNvSpPr/>
          <p:nvPr userDrawn="1"/>
        </p:nvSpPr>
        <p:spPr>
          <a:xfrm>
            <a:off x="0" y="4873500"/>
            <a:ext cx="9144000" cy="270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 kern="120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6" name="Bildplatzhalter 15">
            <a:extLst>
              <a:ext uri="{FF2B5EF4-FFF2-40B4-BE49-F238E27FC236}">
                <a16:creationId xmlns:a16="http://schemas.microsoft.com/office/drawing/2014/main" id="{FA933361-2A16-1071-85B6-0FD0AED8FDD0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4914000" y="0"/>
            <a:ext cx="4230000" cy="4863600"/>
          </a:xfrm>
          <a:gradFill>
            <a:gsLst>
              <a:gs pos="0">
                <a:schemeClr val="accent5"/>
              </a:gs>
              <a:gs pos="100000">
                <a:schemeClr val="accent4"/>
              </a:gs>
            </a:gsLst>
            <a:lin ang="18900000" scaled="1"/>
          </a:gradFill>
        </p:spPr>
        <p:txBody>
          <a:bodyPr vert="horz" lIns="0" tIns="0" rIns="0" bIns="0" rtlCol="0">
            <a:noAutofit/>
          </a:bodyPr>
          <a:lstStyle>
            <a:lvl1pPr>
              <a:defRPr lang="en-GB" dirty="0"/>
            </a:lvl1pPr>
          </a:lstStyle>
          <a:p>
            <a:pPr marR="0" lvl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</a:pPr>
            <a:r>
              <a:rPr lang="en-GB"/>
              <a:t>Insert picture by click or drag &amp; drop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86701" y="1023937"/>
            <a:ext cx="3888000" cy="1678921"/>
          </a:xfrm>
        </p:spPr>
        <p:txBody>
          <a:bodyPr lIns="0" tIns="0" rIns="0" bIns="0" anchor="b" anchorCtr="0">
            <a:normAutofit/>
          </a:bodyPr>
          <a:lstStyle>
            <a:lvl1pPr>
              <a:defRPr sz="280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chapter title</a:t>
            </a:r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E83FD0DA-A651-4539-1919-3D36EE53FB3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86914" y="2671905"/>
            <a:ext cx="3887787" cy="511175"/>
          </a:xfrm>
        </p:spPr>
        <p:txBody>
          <a:bodyPr/>
          <a:lstStyle>
            <a:lvl1pPr>
              <a:lnSpc>
                <a:spcPct val="100000"/>
              </a:lnSpc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Click to edit subtitle</a:t>
            </a: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5624E0E8-0F64-4008-5211-19B70D70425F}"/>
              </a:ext>
            </a:extLst>
          </p:cNvPr>
          <p:cNvSpPr/>
          <p:nvPr userDrawn="1"/>
        </p:nvSpPr>
        <p:spPr>
          <a:xfrm>
            <a:off x="0" y="4891500"/>
            <a:ext cx="9144000" cy="252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 kern="120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8" name="Gerader Verbinder 7">
            <a:extLst>
              <a:ext uri="{FF2B5EF4-FFF2-40B4-BE49-F238E27FC236}">
                <a16:creationId xmlns:a16="http://schemas.microsoft.com/office/drawing/2014/main" id="{672FCAAB-DD03-6ABF-CF6D-DA05A040325F}"/>
              </a:ext>
            </a:extLst>
          </p:cNvPr>
          <p:cNvCxnSpPr>
            <a:cxnSpLocks/>
          </p:cNvCxnSpPr>
          <p:nvPr userDrawn="1"/>
        </p:nvCxnSpPr>
        <p:spPr>
          <a:xfrm>
            <a:off x="0" y="4869074"/>
            <a:ext cx="9144000" cy="0"/>
          </a:xfrm>
          <a:prstGeom prst="line">
            <a:avLst/>
          </a:prstGeom>
          <a:ln w="1905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75795366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Divider 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Bildplatzhalter 14">
            <a:extLst>
              <a:ext uri="{FF2B5EF4-FFF2-40B4-BE49-F238E27FC236}">
                <a16:creationId xmlns:a16="http://schemas.microsoft.com/office/drawing/2014/main" id="{C9A5E3F6-13DB-2142-2A56-E184F2E756C2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9143995" cy="4863600"/>
          </a:xfrm>
          <a:custGeom>
            <a:avLst/>
            <a:gdLst>
              <a:gd name="connsiteX0" fmla="*/ 342900 w 9143995"/>
              <a:gd name="connsiteY0" fmla="*/ 340872 h 4863600"/>
              <a:gd name="connsiteX1" fmla="*/ 342900 w 9143995"/>
              <a:gd name="connsiteY1" fmla="*/ 682872 h 4863600"/>
              <a:gd name="connsiteX2" fmla="*/ 1025873 w 9143995"/>
              <a:gd name="connsiteY2" fmla="*/ 682872 h 4863600"/>
              <a:gd name="connsiteX3" fmla="*/ 1025873 w 9143995"/>
              <a:gd name="connsiteY3" fmla="*/ 340872 h 4863600"/>
              <a:gd name="connsiteX4" fmla="*/ 0 w 9143995"/>
              <a:gd name="connsiteY4" fmla="*/ 0 h 4863600"/>
              <a:gd name="connsiteX5" fmla="*/ 9143995 w 9143995"/>
              <a:gd name="connsiteY5" fmla="*/ 0 h 4863600"/>
              <a:gd name="connsiteX6" fmla="*/ 9143995 w 9143995"/>
              <a:gd name="connsiteY6" fmla="*/ 4863600 h 4863600"/>
              <a:gd name="connsiteX7" fmla="*/ 0 w 9143995"/>
              <a:gd name="connsiteY7" fmla="*/ 4863600 h 486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9143995" h="4863600">
                <a:moveTo>
                  <a:pt x="342900" y="340872"/>
                </a:moveTo>
                <a:lnTo>
                  <a:pt x="342900" y="682872"/>
                </a:lnTo>
                <a:lnTo>
                  <a:pt x="1025873" y="682872"/>
                </a:lnTo>
                <a:lnTo>
                  <a:pt x="1025873" y="340872"/>
                </a:lnTo>
                <a:close/>
                <a:moveTo>
                  <a:pt x="0" y="0"/>
                </a:moveTo>
                <a:lnTo>
                  <a:pt x="9143995" y="0"/>
                </a:lnTo>
                <a:lnTo>
                  <a:pt x="9143995" y="4863600"/>
                </a:lnTo>
                <a:lnTo>
                  <a:pt x="0" y="4863600"/>
                </a:lnTo>
                <a:close/>
              </a:path>
            </a:pathLst>
          </a:custGeom>
          <a:gradFill>
            <a:gsLst>
              <a:gs pos="0">
                <a:schemeClr val="accent5"/>
              </a:gs>
              <a:gs pos="100000">
                <a:schemeClr val="accent4"/>
              </a:gs>
            </a:gsLst>
            <a:lin ang="18900000" scaled="1"/>
          </a:gradFill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</a:lstStyle>
          <a:p>
            <a:pPr marR="0" lvl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</a:pPr>
            <a:r>
              <a:rPr lang="en-US"/>
              <a:t>Insert picture by click or drag &amp; drop</a:t>
            </a:r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E83FD0DA-A651-4539-1919-3D36EE53FB3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86701" y="2671905"/>
            <a:ext cx="3887787" cy="511175"/>
          </a:xfrm>
        </p:spPr>
        <p:txBody>
          <a:bodyPr/>
          <a:lstStyle>
            <a:lvl1pPr>
              <a:lnSpc>
                <a:spcPct val="100000"/>
              </a:lnSpc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86701" y="1023937"/>
            <a:ext cx="3888000" cy="1678921"/>
          </a:xfrm>
        </p:spPr>
        <p:txBody>
          <a:bodyPr lIns="0" tIns="0" rIns="0" bIns="0" anchor="b" anchorCtr="0">
            <a:normAutofit/>
          </a:bodyPr>
          <a:lstStyle>
            <a:lvl1pPr>
              <a:defRPr sz="280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chapter title</a:t>
            </a:r>
            <a:endParaRPr lang="en-US"/>
          </a:p>
        </p:txBody>
      </p:sp>
      <p:grpSp>
        <p:nvGrpSpPr>
          <p:cNvPr id="3" name="Gruppieren 2">
            <a:extLst>
              <a:ext uri="{FF2B5EF4-FFF2-40B4-BE49-F238E27FC236}">
                <a16:creationId xmlns:a16="http://schemas.microsoft.com/office/drawing/2014/main" id="{3CB2633E-57A5-FEF5-1BCF-FD563428FC66}"/>
              </a:ext>
            </a:extLst>
          </p:cNvPr>
          <p:cNvGrpSpPr/>
          <p:nvPr userDrawn="1"/>
        </p:nvGrpSpPr>
        <p:grpSpPr>
          <a:xfrm>
            <a:off x="0" y="4869074"/>
            <a:ext cx="9144000" cy="274426"/>
            <a:chOff x="0" y="4869074"/>
            <a:chExt cx="9144000" cy="274426"/>
          </a:xfrm>
        </p:grpSpPr>
        <p:sp>
          <p:nvSpPr>
            <p:cNvPr id="4" name="Rechteck 3">
              <a:extLst>
                <a:ext uri="{FF2B5EF4-FFF2-40B4-BE49-F238E27FC236}">
                  <a16:creationId xmlns:a16="http://schemas.microsoft.com/office/drawing/2014/main" id="{F4301F65-9118-6CAF-A653-29C5E5F5A6A8}"/>
                </a:ext>
              </a:extLst>
            </p:cNvPr>
            <p:cNvSpPr/>
            <p:nvPr userDrawn="1"/>
          </p:nvSpPr>
          <p:spPr>
            <a:xfrm>
              <a:off x="0" y="4891500"/>
              <a:ext cx="9144000" cy="252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 kern="1200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5" name="Gerader Verbinder 4">
              <a:extLst>
                <a:ext uri="{FF2B5EF4-FFF2-40B4-BE49-F238E27FC236}">
                  <a16:creationId xmlns:a16="http://schemas.microsoft.com/office/drawing/2014/main" id="{BFF257C6-4CA6-2336-F142-A9663AE595B8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0" y="4869074"/>
              <a:ext cx="9144000" cy="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37568246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03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84213" y="1358795"/>
            <a:ext cx="8116887" cy="1335591"/>
          </a:xfrm>
        </p:spPr>
        <p:txBody>
          <a:bodyPr wrap="square" lIns="0" tIns="0" rIns="0" bIns="0" rtlCol="0" anchor="b" anchorCtr="0">
            <a:noAutofit/>
          </a:bodyPr>
          <a:lstStyle>
            <a:lvl1pPr>
              <a:defRPr lang="en-US" sz="2400" spc="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defTabSz="914103">
              <a:spcBef>
                <a:spcPct val="0"/>
              </a:spcBef>
            </a:pPr>
            <a:r>
              <a:rPr lang="de-DE"/>
              <a:t>tit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84213" y="2732486"/>
            <a:ext cx="8116887" cy="1503854"/>
          </a:xfrm>
        </p:spPr>
        <p:txBody>
          <a:bodyPr vert="horz" wrap="square" lIns="0" tIns="0" rIns="0" bIns="0" rtlCol="0" anchor="t" anchorCtr="0">
            <a:noAutofit/>
          </a:bodyPr>
          <a:lstStyle>
            <a:lvl1pPr>
              <a:lnSpc>
                <a:spcPct val="100000"/>
              </a:lnSpc>
              <a:defRPr lang="en-US" sz="900" cap="all" spc="0" baseline="0" dirty="0">
                <a:solidFill>
                  <a:schemeClr val="bg1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/>
              <a:t>Name surname | position department | date</a:t>
            </a:r>
          </a:p>
        </p:txBody>
      </p:sp>
      <p:sp>
        <p:nvSpPr>
          <p:cNvPr id="20" name="Textfeld 19">
            <a:extLst>
              <a:ext uri="{FF2B5EF4-FFF2-40B4-BE49-F238E27FC236}">
                <a16:creationId xmlns:a16="http://schemas.microsoft.com/office/drawing/2014/main" id="{729BDCAE-6710-1678-5AC3-706A77EE79A6}"/>
              </a:ext>
            </a:extLst>
          </p:cNvPr>
          <p:cNvSpPr txBox="1"/>
          <p:nvPr userDrawn="1"/>
        </p:nvSpPr>
        <p:spPr>
          <a:xfrm>
            <a:off x="8379417" y="4452668"/>
            <a:ext cx="431208" cy="153888"/>
          </a:xfrm>
          <a:prstGeom prst="rect">
            <a:avLst/>
          </a:prstGeom>
        </p:spPr>
        <p:txBody>
          <a:bodyPr wrap="none" lIns="0" tIns="0" rIns="0" bIns="0" rtlCol="0" anchor="ctr">
            <a:spAutoFit/>
          </a:bodyPr>
          <a:lstStyle/>
          <a:p>
            <a:pPr marL="0" indent="0" algn="r">
              <a:lnSpc>
                <a:spcPct val="100000"/>
              </a:lnSpc>
              <a:buNone/>
            </a:pPr>
            <a:r>
              <a:rPr lang="en-GB" sz="1000" b="0" cap="none" baseline="0">
                <a:solidFill>
                  <a:schemeClr val="bg1"/>
                </a:solidFill>
              </a:rPr>
              <a:t>epo.org</a:t>
            </a:r>
          </a:p>
        </p:txBody>
      </p:sp>
      <p:cxnSp>
        <p:nvCxnSpPr>
          <p:cNvPr id="24" name="Gerader Verbinder 23">
            <a:extLst>
              <a:ext uri="{FF2B5EF4-FFF2-40B4-BE49-F238E27FC236}">
                <a16:creationId xmlns:a16="http://schemas.microsoft.com/office/drawing/2014/main" id="{82EB119C-33EF-6385-B4B9-15B962CD3261}"/>
              </a:ext>
            </a:extLst>
          </p:cNvPr>
          <p:cNvCxnSpPr>
            <a:cxnSpLocks/>
          </p:cNvCxnSpPr>
          <p:nvPr userDrawn="1"/>
        </p:nvCxnSpPr>
        <p:spPr>
          <a:xfrm>
            <a:off x="684213" y="2693196"/>
            <a:ext cx="8116887" cy="0"/>
          </a:xfrm>
          <a:prstGeom prst="line">
            <a:avLst/>
          </a:prstGeom>
          <a:ln w="6350">
            <a:solidFill>
              <a:schemeClr val="bg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EPO LOGO-50 Years EPC-2-white-01.png" descr="EPO LOGO-50 Years EPC-2-white-01.png">
            <a:extLst>
              <a:ext uri="{FF2B5EF4-FFF2-40B4-BE49-F238E27FC236}">
                <a16:creationId xmlns:a16="http://schemas.microsoft.com/office/drawing/2014/main" id="{EDB1146C-57DB-36E0-EA68-30E106546AE5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35757" y="336110"/>
            <a:ext cx="1972800" cy="354277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253815883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04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84213" y="1358795"/>
            <a:ext cx="8116887" cy="1335591"/>
          </a:xfrm>
        </p:spPr>
        <p:txBody>
          <a:bodyPr wrap="square" lIns="0" tIns="0" rIns="0" bIns="0" rtlCol="0" anchor="b" anchorCtr="0">
            <a:noAutofit/>
          </a:bodyPr>
          <a:lstStyle>
            <a:lvl1pPr>
              <a:defRPr lang="en-US" sz="2400" spc="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defTabSz="914103">
              <a:spcBef>
                <a:spcPct val="0"/>
              </a:spcBef>
            </a:pPr>
            <a:r>
              <a:rPr lang="de-DE"/>
              <a:t>tit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84213" y="2732486"/>
            <a:ext cx="8116887" cy="1503854"/>
          </a:xfrm>
        </p:spPr>
        <p:txBody>
          <a:bodyPr vert="horz" wrap="square" lIns="0" tIns="0" rIns="0" bIns="0" rtlCol="0" anchor="t" anchorCtr="0">
            <a:noAutofit/>
          </a:bodyPr>
          <a:lstStyle>
            <a:lvl1pPr>
              <a:lnSpc>
                <a:spcPct val="100000"/>
              </a:lnSpc>
              <a:defRPr lang="en-US" sz="900" cap="all" spc="0" baseline="0" dirty="0">
                <a:solidFill>
                  <a:schemeClr val="bg1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/>
              <a:t>Name surname | position department | date</a:t>
            </a:r>
          </a:p>
        </p:txBody>
      </p:sp>
      <p:sp>
        <p:nvSpPr>
          <p:cNvPr id="20" name="Textfeld 19">
            <a:extLst>
              <a:ext uri="{FF2B5EF4-FFF2-40B4-BE49-F238E27FC236}">
                <a16:creationId xmlns:a16="http://schemas.microsoft.com/office/drawing/2014/main" id="{729BDCAE-6710-1678-5AC3-706A77EE79A6}"/>
              </a:ext>
            </a:extLst>
          </p:cNvPr>
          <p:cNvSpPr txBox="1"/>
          <p:nvPr userDrawn="1"/>
        </p:nvSpPr>
        <p:spPr>
          <a:xfrm>
            <a:off x="8379417" y="4452668"/>
            <a:ext cx="431208" cy="153888"/>
          </a:xfrm>
          <a:prstGeom prst="rect">
            <a:avLst/>
          </a:prstGeom>
        </p:spPr>
        <p:txBody>
          <a:bodyPr wrap="none" lIns="0" tIns="0" rIns="0" bIns="0" rtlCol="0" anchor="ctr">
            <a:spAutoFit/>
          </a:bodyPr>
          <a:lstStyle/>
          <a:p>
            <a:pPr marL="0" indent="0" algn="r">
              <a:lnSpc>
                <a:spcPct val="100000"/>
              </a:lnSpc>
              <a:buNone/>
            </a:pPr>
            <a:r>
              <a:rPr lang="en-GB" sz="1000" b="0" cap="none" baseline="0">
                <a:solidFill>
                  <a:schemeClr val="bg1"/>
                </a:solidFill>
              </a:rPr>
              <a:t>epo.org</a:t>
            </a:r>
          </a:p>
        </p:txBody>
      </p:sp>
      <p:cxnSp>
        <p:nvCxnSpPr>
          <p:cNvPr id="24" name="Gerader Verbinder 23">
            <a:extLst>
              <a:ext uri="{FF2B5EF4-FFF2-40B4-BE49-F238E27FC236}">
                <a16:creationId xmlns:a16="http://schemas.microsoft.com/office/drawing/2014/main" id="{82EB119C-33EF-6385-B4B9-15B962CD3261}"/>
              </a:ext>
            </a:extLst>
          </p:cNvPr>
          <p:cNvCxnSpPr>
            <a:cxnSpLocks/>
          </p:cNvCxnSpPr>
          <p:nvPr userDrawn="1"/>
        </p:nvCxnSpPr>
        <p:spPr>
          <a:xfrm>
            <a:off x="684213" y="2693196"/>
            <a:ext cx="8116887" cy="0"/>
          </a:xfrm>
          <a:prstGeom prst="line">
            <a:avLst/>
          </a:prstGeom>
          <a:ln w="6350">
            <a:solidFill>
              <a:schemeClr val="bg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EPO LOGO-50 Years EPC-2-white-01.png" descr="EPO LOGO-50 Years EPC-2-white-01.png">
            <a:extLst>
              <a:ext uri="{FF2B5EF4-FFF2-40B4-BE49-F238E27FC236}">
                <a16:creationId xmlns:a16="http://schemas.microsoft.com/office/drawing/2014/main" id="{16DF2546-1E6E-83BB-2696-A6C14D783E1F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35757" y="336110"/>
            <a:ext cx="1972800" cy="354277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291135977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05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84213" y="1358795"/>
            <a:ext cx="8116887" cy="1335591"/>
          </a:xfrm>
        </p:spPr>
        <p:txBody>
          <a:bodyPr wrap="square" lIns="0" tIns="0" rIns="0" bIns="0" rtlCol="0" anchor="b" anchorCtr="0">
            <a:noAutofit/>
          </a:bodyPr>
          <a:lstStyle>
            <a:lvl1pPr>
              <a:defRPr lang="en-US" sz="2400" spc="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defTabSz="914103">
              <a:spcBef>
                <a:spcPct val="0"/>
              </a:spcBef>
            </a:pPr>
            <a:r>
              <a:rPr lang="de-DE"/>
              <a:t>tit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84213" y="2732486"/>
            <a:ext cx="8116887" cy="1503854"/>
          </a:xfrm>
        </p:spPr>
        <p:txBody>
          <a:bodyPr vert="horz" wrap="square" lIns="0" tIns="0" rIns="0" bIns="0" rtlCol="0" anchor="t" anchorCtr="0">
            <a:noAutofit/>
          </a:bodyPr>
          <a:lstStyle>
            <a:lvl1pPr>
              <a:lnSpc>
                <a:spcPct val="100000"/>
              </a:lnSpc>
              <a:defRPr lang="en-US" sz="900" cap="all" spc="0" baseline="0" dirty="0">
                <a:solidFill>
                  <a:schemeClr val="bg1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/>
              <a:t>Name surname | position department | date</a:t>
            </a:r>
          </a:p>
        </p:txBody>
      </p:sp>
      <p:sp>
        <p:nvSpPr>
          <p:cNvPr id="20" name="Textfeld 19">
            <a:extLst>
              <a:ext uri="{FF2B5EF4-FFF2-40B4-BE49-F238E27FC236}">
                <a16:creationId xmlns:a16="http://schemas.microsoft.com/office/drawing/2014/main" id="{729BDCAE-6710-1678-5AC3-706A77EE79A6}"/>
              </a:ext>
            </a:extLst>
          </p:cNvPr>
          <p:cNvSpPr txBox="1"/>
          <p:nvPr userDrawn="1"/>
        </p:nvSpPr>
        <p:spPr>
          <a:xfrm>
            <a:off x="8379417" y="4452668"/>
            <a:ext cx="431208" cy="153888"/>
          </a:xfrm>
          <a:prstGeom prst="rect">
            <a:avLst/>
          </a:prstGeom>
        </p:spPr>
        <p:txBody>
          <a:bodyPr wrap="none" lIns="0" tIns="0" rIns="0" bIns="0" rtlCol="0" anchor="ctr">
            <a:spAutoFit/>
          </a:bodyPr>
          <a:lstStyle/>
          <a:p>
            <a:pPr marL="0" indent="0" algn="r">
              <a:lnSpc>
                <a:spcPct val="100000"/>
              </a:lnSpc>
              <a:buNone/>
            </a:pPr>
            <a:r>
              <a:rPr lang="en-GB" sz="1000" b="0" cap="none" baseline="0">
                <a:solidFill>
                  <a:schemeClr val="bg1"/>
                </a:solidFill>
              </a:rPr>
              <a:t>epo.org</a:t>
            </a:r>
          </a:p>
        </p:txBody>
      </p:sp>
      <p:cxnSp>
        <p:nvCxnSpPr>
          <p:cNvPr id="24" name="Gerader Verbinder 23">
            <a:extLst>
              <a:ext uri="{FF2B5EF4-FFF2-40B4-BE49-F238E27FC236}">
                <a16:creationId xmlns:a16="http://schemas.microsoft.com/office/drawing/2014/main" id="{82EB119C-33EF-6385-B4B9-15B962CD3261}"/>
              </a:ext>
            </a:extLst>
          </p:cNvPr>
          <p:cNvCxnSpPr>
            <a:cxnSpLocks/>
          </p:cNvCxnSpPr>
          <p:nvPr userDrawn="1"/>
        </p:nvCxnSpPr>
        <p:spPr>
          <a:xfrm>
            <a:off x="684213" y="2693196"/>
            <a:ext cx="8116887" cy="0"/>
          </a:xfrm>
          <a:prstGeom prst="line">
            <a:avLst/>
          </a:prstGeom>
          <a:ln w="6350">
            <a:solidFill>
              <a:schemeClr val="bg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EPO LOGO-50 Years EPC-2-white-01.png" descr="EPO LOGO-50 Years EPC-2-white-01.png">
            <a:extLst>
              <a:ext uri="{FF2B5EF4-FFF2-40B4-BE49-F238E27FC236}">
                <a16:creationId xmlns:a16="http://schemas.microsoft.com/office/drawing/2014/main" id="{4BB2A2FD-72DE-D17F-D993-544339C53A9A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35757" y="336110"/>
            <a:ext cx="1972800" cy="354277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91076314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06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84213" y="1358795"/>
            <a:ext cx="8116887" cy="1335591"/>
          </a:xfrm>
        </p:spPr>
        <p:txBody>
          <a:bodyPr wrap="square" lIns="0" tIns="0" rIns="0" bIns="0" rtlCol="0" anchor="b" anchorCtr="0">
            <a:noAutofit/>
          </a:bodyPr>
          <a:lstStyle>
            <a:lvl1pPr>
              <a:defRPr lang="en-US" sz="2400" spc="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defTabSz="914103">
              <a:spcBef>
                <a:spcPct val="0"/>
              </a:spcBef>
            </a:pPr>
            <a:r>
              <a:rPr lang="de-DE"/>
              <a:t>tit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84213" y="2732486"/>
            <a:ext cx="8116887" cy="1503854"/>
          </a:xfrm>
        </p:spPr>
        <p:txBody>
          <a:bodyPr vert="horz" wrap="square" lIns="0" tIns="0" rIns="0" bIns="0" rtlCol="0" anchor="t" anchorCtr="0">
            <a:noAutofit/>
          </a:bodyPr>
          <a:lstStyle>
            <a:lvl1pPr>
              <a:lnSpc>
                <a:spcPct val="100000"/>
              </a:lnSpc>
              <a:defRPr lang="en-US" sz="900" cap="all" spc="0" baseline="0" dirty="0">
                <a:solidFill>
                  <a:schemeClr val="bg1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/>
              <a:t>Name surname | position department | date</a:t>
            </a:r>
          </a:p>
        </p:txBody>
      </p:sp>
      <p:sp>
        <p:nvSpPr>
          <p:cNvPr id="20" name="Textfeld 19">
            <a:extLst>
              <a:ext uri="{FF2B5EF4-FFF2-40B4-BE49-F238E27FC236}">
                <a16:creationId xmlns:a16="http://schemas.microsoft.com/office/drawing/2014/main" id="{729BDCAE-6710-1678-5AC3-706A77EE79A6}"/>
              </a:ext>
            </a:extLst>
          </p:cNvPr>
          <p:cNvSpPr txBox="1"/>
          <p:nvPr userDrawn="1"/>
        </p:nvSpPr>
        <p:spPr>
          <a:xfrm>
            <a:off x="8379417" y="4452668"/>
            <a:ext cx="431208" cy="153888"/>
          </a:xfrm>
          <a:prstGeom prst="rect">
            <a:avLst/>
          </a:prstGeom>
        </p:spPr>
        <p:txBody>
          <a:bodyPr wrap="none" lIns="0" tIns="0" rIns="0" bIns="0" rtlCol="0" anchor="ctr">
            <a:spAutoFit/>
          </a:bodyPr>
          <a:lstStyle/>
          <a:p>
            <a:pPr marL="0" indent="0" algn="r">
              <a:lnSpc>
                <a:spcPct val="100000"/>
              </a:lnSpc>
              <a:buNone/>
            </a:pPr>
            <a:r>
              <a:rPr lang="en-GB" sz="1000" b="0" cap="none" baseline="0">
                <a:solidFill>
                  <a:schemeClr val="bg1"/>
                </a:solidFill>
              </a:rPr>
              <a:t>epo.org</a:t>
            </a:r>
          </a:p>
        </p:txBody>
      </p:sp>
      <p:cxnSp>
        <p:nvCxnSpPr>
          <p:cNvPr id="24" name="Gerader Verbinder 23">
            <a:extLst>
              <a:ext uri="{FF2B5EF4-FFF2-40B4-BE49-F238E27FC236}">
                <a16:creationId xmlns:a16="http://schemas.microsoft.com/office/drawing/2014/main" id="{82EB119C-33EF-6385-B4B9-15B962CD3261}"/>
              </a:ext>
            </a:extLst>
          </p:cNvPr>
          <p:cNvCxnSpPr>
            <a:cxnSpLocks/>
          </p:cNvCxnSpPr>
          <p:nvPr userDrawn="1"/>
        </p:nvCxnSpPr>
        <p:spPr>
          <a:xfrm>
            <a:off x="684213" y="2693196"/>
            <a:ext cx="8116887" cy="0"/>
          </a:xfrm>
          <a:prstGeom prst="line">
            <a:avLst/>
          </a:prstGeom>
          <a:ln w="6350">
            <a:solidFill>
              <a:schemeClr val="bg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EPO LOGO-50 Years EPC-2-white-01.png" descr="EPO LOGO-50 Years EPC-2-white-01.png">
            <a:extLst>
              <a:ext uri="{FF2B5EF4-FFF2-40B4-BE49-F238E27FC236}">
                <a16:creationId xmlns:a16="http://schemas.microsoft.com/office/drawing/2014/main" id="{0852B559-23BE-A68D-CBF4-560CA21307A9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35757" y="336110"/>
            <a:ext cx="1972800" cy="354277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134350589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07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84213" y="1358795"/>
            <a:ext cx="8116887" cy="1335591"/>
          </a:xfrm>
        </p:spPr>
        <p:txBody>
          <a:bodyPr wrap="square" lIns="0" tIns="0" rIns="0" bIns="0" rtlCol="0" anchor="b" anchorCtr="0">
            <a:noAutofit/>
          </a:bodyPr>
          <a:lstStyle>
            <a:lvl1pPr>
              <a:defRPr lang="en-US" sz="2400" spc="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defTabSz="914103">
              <a:spcBef>
                <a:spcPct val="0"/>
              </a:spcBef>
            </a:pPr>
            <a:r>
              <a:rPr lang="de-DE"/>
              <a:t>tit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84213" y="2732486"/>
            <a:ext cx="8116887" cy="1503854"/>
          </a:xfrm>
        </p:spPr>
        <p:txBody>
          <a:bodyPr vert="horz" wrap="square" lIns="0" tIns="0" rIns="0" bIns="0" rtlCol="0" anchor="t" anchorCtr="0">
            <a:noAutofit/>
          </a:bodyPr>
          <a:lstStyle>
            <a:lvl1pPr>
              <a:lnSpc>
                <a:spcPct val="100000"/>
              </a:lnSpc>
              <a:defRPr lang="en-US" sz="900" cap="all" spc="0" baseline="0" dirty="0">
                <a:solidFill>
                  <a:schemeClr val="bg1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/>
              <a:t>Name surname | position department | date</a:t>
            </a:r>
          </a:p>
        </p:txBody>
      </p:sp>
      <p:sp>
        <p:nvSpPr>
          <p:cNvPr id="20" name="Textfeld 19">
            <a:extLst>
              <a:ext uri="{FF2B5EF4-FFF2-40B4-BE49-F238E27FC236}">
                <a16:creationId xmlns:a16="http://schemas.microsoft.com/office/drawing/2014/main" id="{729BDCAE-6710-1678-5AC3-706A77EE79A6}"/>
              </a:ext>
            </a:extLst>
          </p:cNvPr>
          <p:cNvSpPr txBox="1"/>
          <p:nvPr userDrawn="1"/>
        </p:nvSpPr>
        <p:spPr>
          <a:xfrm>
            <a:off x="8379417" y="4452668"/>
            <a:ext cx="431208" cy="153888"/>
          </a:xfrm>
          <a:prstGeom prst="rect">
            <a:avLst/>
          </a:prstGeom>
        </p:spPr>
        <p:txBody>
          <a:bodyPr wrap="none" lIns="0" tIns="0" rIns="0" bIns="0" rtlCol="0" anchor="ctr">
            <a:spAutoFit/>
          </a:bodyPr>
          <a:lstStyle/>
          <a:p>
            <a:pPr marL="0" indent="0" algn="r">
              <a:lnSpc>
                <a:spcPct val="100000"/>
              </a:lnSpc>
              <a:buNone/>
            </a:pPr>
            <a:r>
              <a:rPr lang="en-GB" sz="1000" b="0" cap="none" baseline="0">
                <a:solidFill>
                  <a:schemeClr val="bg1"/>
                </a:solidFill>
              </a:rPr>
              <a:t>epo.org</a:t>
            </a:r>
          </a:p>
        </p:txBody>
      </p:sp>
      <p:cxnSp>
        <p:nvCxnSpPr>
          <p:cNvPr id="24" name="Gerader Verbinder 23">
            <a:extLst>
              <a:ext uri="{FF2B5EF4-FFF2-40B4-BE49-F238E27FC236}">
                <a16:creationId xmlns:a16="http://schemas.microsoft.com/office/drawing/2014/main" id="{82EB119C-33EF-6385-B4B9-15B962CD3261}"/>
              </a:ext>
            </a:extLst>
          </p:cNvPr>
          <p:cNvCxnSpPr>
            <a:cxnSpLocks/>
          </p:cNvCxnSpPr>
          <p:nvPr userDrawn="1"/>
        </p:nvCxnSpPr>
        <p:spPr>
          <a:xfrm>
            <a:off x="684213" y="2693196"/>
            <a:ext cx="8116887" cy="0"/>
          </a:xfrm>
          <a:prstGeom prst="line">
            <a:avLst/>
          </a:prstGeom>
          <a:ln w="6350">
            <a:solidFill>
              <a:schemeClr val="bg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EPO LOGO-50 Years EPC-2-white-01.png" descr="EPO LOGO-50 Years EPC-2-white-01.png">
            <a:extLst>
              <a:ext uri="{FF2B5EF4-FFF2-40B4-BE49-F238E27FC236}">
                <a16:creationId xmlns:a16="http://schemas.microsoft.com/office/drawing/2014/main" id="{BBF55825-C82B-A4F6-25DB-6FC01F75232C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35757" y="336110"/>
            <a:ext cx="1972800" cy="354277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114869921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08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84213" y="1358795"/>
            <a:ext cx="8116887" cy="1335591"/>
          </a:xfrm>
        </p:spPr>
        <p:txBody>
          <a:bodyPr wrap="square" lIns="0" tIns="0" rIns="0" bIns="0" rtlCol="0" anchor="b" anchorCtr="0">
            <a:noAutofit/>
          </a:bodyPr>
          <a:lstStyle>
            <a:lvl1pPr>
              <a:defRPr lang="en-US" sz="2400" spc="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defTabSz="914103">
              <a:spcBef>
                <a:spcPct val="0"/>
              </a:spcBef>
            </a:pPr>
            <a:r>
              <a:rPr lang="de-DE"/>
              <a:t>tit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84213" y="2732486"/>
            <a:ext cx="8116887" cy="1503854"/>
          </a:xfrm>
        </p:spPr>
        <p:txBody>
          <a:bodyPr vert="horz" wrap="square" lIns="0" tIns="0" rIns="0" bIns="0" rtlCol="0" anchor="t" anchorCtr="0">
            <a:noAutofit/>
          </a:bodyPr>
          <a:lstStyle>
            <a:lvl1pPr>
              <a:lnSpc>
                <a:spcPct val="100000"/>
              </a:lnSpc>
              <a:defRPr lang="en-US" sz="900" cap="all" spc="0" baseline="0" dirty="0">
                <a:solidFill>
                  <a:schemeClr val="bg1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/>
              <a:t>Name surname | position department | date</a:t>
            </a:r>
          </a:p>
        </p:txBody>
      </p:sp>
      <p:sp>
        <p:nvSpPr>
          <p:cNvPr id="20" name="Textfeld 19">
            <a:extLst>
              <a:ext uri="{FF2B5EF4-FFF2-40B4-BE49-F238E27FC236}">
                <a16:creationId xmlns:a16="http://schemas.microsoft.com/office/drawing/2014/main" id="{729BDCAE-6710-1678-5AC3-706A77EE79A6}"/>
              </a:ext>
            </a:extLst>
          </p:cNvPr>
          <p:cNvSpPr txBox="1"/>
          <p:nvPr userDrawn="1"/>
        </p:nvSpPr>
        <p:spPr>
          <a:xfrm>
            <a:off x="8379417" y="4452668"/>
            <a:ext cx="431208" cy="153888"/>
          </a:xfrm>
          <a:prstGeom prst="rect">
            <a:avLst/>
          </a:prstGeom>
        </p:spPr>
        <p:txBody>
          <a:bodyPr wrap="none" lIns="0" tIns="0" rIns="0" bIns="0" rtlCol="0" anchor="ctr">
            <a:spAutoFit/>
          </a:bodyPr>
          <a:lstStyle/>
          <a:p>
            <a:pPr marL="0" indent="0" algn="r">
              <a:lnSpc>
                <a:spcPct val="100000"/>
              </a:lnSpc>
              <a:buNone/>
            </a:pPr>
            <a:r>
              <a:rPr lang="en-GB" sz="1000" b="0" cap="none" baseline="0">
                <a:solidFill>
                  <a:schemeClr val="bg1"/>
                </a:solidFill>
              </a:rPr>
              <a:t>epo.org</a:t>
            </a:r>
          </a:p>
        </p:txBody>
      </p:sp>
      <p:cxnSp>
        <p:nvCxnSpPr>
          <p:cNvPr id="24" name="Gerader Verbinder 23">
            <a:extLst>
              <a:ext uri="{FF2B5EF4-FFF2-40B4-BE49-F238E27FC236}">
                <a16:creationId xmlns:a16="http://schemas.microsoft.com/office/drawing/2014/main" id="{82EB119C-33EF-6385-B4B9-15B962CD3261}"/>
              </a:ext>
            </a:extLst>
          </p:cNvPr>
          <p:cNvCxnSpPr>
            <a:cxnSpLocks/>
          </p:cNvCxnSpPr>
          <p:nvPr userDrawn="1"/>
        </p:nvCxnSpPr>
        <p:spPr>
          <a:xfrm>
            <a:off x="684213" y="2693196"/>
            <a:ext cx="8116887" cy="0"/>
          </a:xfrm>
          <a:prstGeom prst="line">
            <a:avLst/>
          </a:prstGeom>
          <a:ln w="6350">
            <a:solidFill>
              <a:schemeClr val="bg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EPO LOGO-50 Years EPC-2-white-01.png" descr="EPO LOGO-50 Years EPC-2-white-01.png">
            <a:extLst>
              <a:ext uri="{FF2B5EF4-FFF2-40B4-BE49-F238E27FC236}">
                <a16:creationId xmlns:a16="http://schemas.microsoft.com/office/drawing/2014/main" id="{7EF05CA9-B118-8A0C-6890-1512EA688844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35757" y="336110"/>
            <a:ext cx="1972800" cy="354277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184537577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09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84213" y="1358795"/>
            <a:ext cx="8116887" cy="1335591"/>
          </a:xfrm>
        </p:spPr>
        <p:txBody>
          <a:bodyPr wrap="square" lIns="0" tIns="0" rIns="0" bIns="0" rtlCol="0" anchor="b" anchorCtr="0">
            <a:noAutofit/>
          </a:bodyPr>
          <a:lstStyle>
            <a:lvl1pPr>
              <a:defRPr lang="en-US" sz="2400" spc="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defTabSz="914103">
              <a:spcBef>
                <a:spcPct val="0"/>
              </a:spcBef>
            </a:pPr>
            <a:r>
              <a:rPr lang="de-DE"/>
              <a:t>tit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84213" y="2732486"/>
            <a:ext cx="8116887" cy="1503854"/>
          </a:xfrm>
        </p:spPr>
        <p:txBody>
          <a:bodyPr vert="horz" wrap="square" lIns="0" tIns="0" rIns="0" bIns="0" rtlCol="0" anchor="t" anchorCtr="0">
            <a:noAutofit/>
          </a:bodyPr>
          <a:lstStyle>
            <a:lvl1pPr>
              <a:lnSpc>
                <a:spcPct val="100000"/>
              </a:lnSpc>
              <a:defRPr lang="en-US" sz="900" cap="all" spc="0" baseline="0" dirty="0">
                <a:solidFill>
                  <a:schemeClr val="bg1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/>
              <a:t>Name surname | position department | date</a:t>
            </a:r>
          </a:p>
        </p:txBody>
      </p:sp>
      <p:sp>
        <p:nvSpPr>
          <p:cNvPr id="20" name="Textfeld 19">
            <a:extLst>
              <a:ext uri="{FF2B5EF4-FFF2-40B4-BE49-F238E27FC236}">
                <a16:creationId xmlns:a16="http://schemas.microsoft.com/office/drawing/2014/main" id="{729BDCAE-6710-1678-5AC3-706A77EE79A6}"/>
              </a:ext>
            </a:extLst>
          </p:cNvPr>
          <p:cNvSpPr txBox="1"/>
          <p:nvPr userDrawn="1"/>
        </p:nvSpPr>
        <p:spPr>
          <a:xfrm>
            <a:off x="8379417" y="4452668"/>
            <a:ext cx="431208" cy="153888"/>
          </a:xfrm>
          <a:prstGeom prst="rect">
            <a:avLst/>
          </a:prstGeom>
        </p:spPr>
        <p:txBody>
          <a:bodyPr wrap="none" lIns="0" tIns="0" rIns="0" bIns="0" rtlCol="0" anchor="ctr">
            <a:spAutoFit/>
          </a:bodyPr>
          <a:lstStyle/>
          <a:p>
            <a:pPr marL="0" indent="0" algn="r">
              <a:lnSpc>
                <a:spcPct val="100000"/>
              </a:lnSpc>
              <a:buNone/>
            </a:pPr>
            <a:r>
              <a:rPr lang="en-GB" sz="1000" b="0" cap="none" baseline="0">
                <a:solidFill>
                  <a:schemeClr val="bg1"/>
                </a:solidFill>
              </a:rPr>
              <a:t>epo.org</a:t>
            </a:r>
          </a:p>
        </p:txBody>
      </p:sp>
      <p:cxnSp>
        <p:nvCxnSpPr>
          <p:cNvPr id="24" name="Gerader Verbinder 23">
            <a:extLst>
              <a:ext uri="{FF2B5EF4-FFF2-40B4-BE49-F238E27FC236}">
                <a16:creationId xmlns:a16="http://schemas.microsoft.com/office/drawing/2014/main" id="{82EB119C-33EF-6385-B4B9-15B962CD3261}"/>
              </a:ext>
            </a:extLst>
          </p:cNvPr>
          <p:cNvCxnSpPr>
            <a:cxnSpLocks/>
          </p:cNvCxnSpPr>
          <p:nvPr userDrawn="1"/>
        </p:nvCxnSpPr>
        <p:spPr>
          <a:xfrm>
            <a:off x="684213" y="2693196"/>
            <a:ext cx="8116887" cy="0"/>
          </a:xfrm>
          <a:prstGeom prst="line">
            <a:avLst/>
          </a:prstGeom>
          <a:ln w="6350">
            <a:solidFill>
              <a:schemeClr val="bg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EPO LOGO-50 Years EPC-2-white-01.png" descr="EPO LOGO-50 Years EPC-2-white-01.png">
            <a:extLst>
              <a:ext uri="{FF2B5EF4-FFF2-40B4-BE49-F238E27FC236}">
                <a16:creationId xmlns:a16="http://schemas.microsoft.com/office/drawing/2014/main" id="{AB5F7727-BD0D-D1B7-8437-7337ACD82456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35757" y="336110"/>
            <a:ext cx="1972800" cy="354277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155627284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86701" y="804213"/>
            <a:ext cx="8114400" cy="553998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6701" y="1479553"/>
            <a:ext cx="8114400" cy="310832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marL="144000" indent="-144000" defTabSz="914126"/>
            <a:r>
              <a:rPr lang="en-US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401101" y="481662"/>
            <a:ext cx="5400000" cy="167675"/>
          </a:xfrm>
          <a:prstGeom prst="rect">
            <a:avLst/>
          </a:prstGeom>
        </p:spPr>
        <p:txBody>
          <a:bodyPr wrap="none" lIns="0" tIns="0" rIns="0" bIns="0" rtlCol="0" anchor="ctr">
            <a:noAutofit/>
          </a:bodyPr>
          <a:lstStyle>
            <a:lvl1pPr algn="r">
              <a:lnSpc>
                <a:spcPct val="100000"/>
              </a:lnSpc>
              <a:defRPr lang="en-GB" sz="1000" b="1" cap="all" baseline="0" dirty="0"/>
            </a:lvl1pPr>
          </a:lstStyle>
          <a:p>
            <a:r>
              <a:rPr lang="en-GB"/>
              <a:t>Header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61101" y="4640518"/>
            <a:ext cx="540000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B6EAC15D-B94B-4B86-ABD3-3EDECDB333F5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15" name="Grafik 14">
            <a:extLst>
              <a:ext uri="{FF2B5EF4-FFF2-40B4-BE49-F238E27FC236}">
                <a16:creationId xmlns:a16="http://schemas.microsoft.com/office/drawing/2014/main" id="{B8BC8D06-86AA-9E42-9000-CE1B92C51668}"/>
              </a:ext>
            </a:extLst>
          </p:cNvPr>
          <p:cNvPicPr>
            <a:picLocks noChangeAspect="1"/>
          </p:cNvPicPr>
          <p:nvPr userDrawn="1"/>
        </p:nvPicPr>
        <p:blipFill>
          <a:blip r:embed="rId26"/>
          <a:srcRect t="215"/>
          <a:stretch>
            <a:fillRect/>
          </a:stretch>
        </p:blipFill>
        <p:spPr>
          <a:xfrm>
            <a:off x="342900" y="340872"/>
            <a:ext cx="682973" cy="342000"/>
          </a:xfrm>
          <a:custGeom>
            <a:avLst/>
            <a:gdLst>
              <a:gd name="connsiteX0" fmla="*/ 0 w 6782650"/>
              <a:gd name="connsiteY0" fmla="*/ 0 h 3396425"/>
              <a:gd name="connsiteX1" fmla="*/ 6782650 w 6782650"/>
              <a:gd name="connsiteY1" fmla="*/ 0 h 3396425"/>
              <a:gd name="connsiteX2" fmla="*/ 6782650 w 6782650"/>
              <a:gd name="connsiteY2" fmla="*/ 3396425 h 3396425"/>
              <a:gd name="connsiteX3" fmla="*/ 0 w 6782650"/>
              <a:gd name="connsiteY3" fmla="*/ 3396425 h 33964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782650" h="3396425">
                <a:moveTo>
                  <a:pt x="0" y="0"/>
                </a:moveTo>
                <a:lnTo>
                  <a:pt x="6782650" y="0"/>
                </a:lnTo>
                <a:lnTo>
                  <a:pt x="6782650" y="3396425"/>
                </a:lnTo>
                <a:lnTo>
                  <a:pt x="0" y="3396425"/>
                </a:lnTo>
                <a:close/>
              </a:path>
            </a:pathLst>
          </a:custGeom>
          <a:ln w="6350">
            <a:solidFill>
              <a:schemeClr val="bg1"/>
            </a:solidFill>
          </a:ln>
        </p:spPr>
      </p:pic>
    </p:spTree>
    <p:extLst>
      <p:ext uri="{BB962C8B-B14F-4D97-AF65-F5344CB8AC3E}">
        <p14:creationId xmlns:p14="http://schemas.microsoft.com/office/powerpoint/2010/main" val="874324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720" r:id="rId2"/>
    <p:sldLayoutId id="2147483721" r:id="rId3"/>
    <p:sldLayoutId id="2147483722" r:id="rId4"/>
    <p:sldLayoutId id="2147483723" r:id="rId5"/>
    <p:sldLayoutId id="2147483724" r:id="rId6"/>
    <p:sldLayoutId id="2147483725" r:id="rId7"/>
    <p:sldLayoutId id="2147483726" r:id="rId8"/>
    <p:sldLayoutId id="2147483727" r:id="rId9"/>
    <p:sldLayoutId id="2147483728" r:id="rId10"/>
    <p:sldLayoutId id="2147483729" r:id="rId11"/>
    <p:sldLayoutId id="2147483719" r:id="rId12"/>
    <p:sldLayoutId id="2147483692" r:id="rId13"/>
    <p:sldLayoutId id="2147483662" r:id="rId14"/>
    <p:sldLayoutId id="2147483664" r:id="rId15"/>
    <p:sldLayoutId id="2147483673" r:id="rId16"/>
    <p:sldLayoutId id="2147483681" r:id="rId17"/>
    <p:sldLayoutId id="2147483733" r:id="rId18"/>
    <p:sldLayoutId id="2147483675" r:id="rId19"/>
    <p:sldLayoutId id="2147483704" r:id="rId20"/>
    <p:sldLayoutId id="2147483693" r:id="rId21"/>
    <p:sldLayoutId id="2147483683" r:id="rId22"/>
    <p:sldLayoutId id="2147483731" r:id="rId23"/>
    <p:sldLayoutId id="2147483732" r:id="rId24"/>
  </p:sldLayoutIdLst>
  <p:hf hdr="0" dt="0"/>
  <p:txStyles>
    <p:titleStyle>
      <a:lvl1pPr algn="l" defTabSz="685800" rtl="0" eaLnBrk="1" latinLnBrk="0" hangingPunct="1">
        <a:lnSpc>
          <a:spcPct val="100000"/>
        </a:lnSpc>
        <a:spcBef>
          <a:spcPts val="0"/>
        </a:spcBef>
        <a:buNone/>
        <a:defRPr sz="1800" b="1" kern="1200" cap="all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685800" rtl="0" eaLnBrk="1" latinLnBrk="0" hangingPunct="1">
        <a:lnSpc>
          <a:spcPct val="120000"/>
        </a:lnSpc>
        <a:spcBef>
          <a:spcPts val="800"/>
        </a:spcBef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504000" indent="-180000" algn="l" defTabSz="685800" rtl="0" eaLnBrk="1" latinLnBrk="0" hangingPunct="1">
        <a:lnSpc>
          <a:spcPct val="120000"/>
        </a:lnSpc>
        <a:spcBef>
          <a:spcPts val="800"/>
        </a:spcBef>
        <a:buClr>
          <a:schemeClr val="accent6"/>
        </a:buClr>
        <a:buSzPct val="100000"/>
        <a:buFont typeface="Wingdings" panose="05000000000000000000" pitchFamily="2" charset="2"/>
        <a:buChar char="n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84000" indent="-180000" algn="l" defTabSz="685800" rtl="0" eaLnBrk="1" latinLnBrk="0" hangingPunct="1">
        <a:lnSpc>
          <a:spcPct val="120000"/>
        </a:lnSpc>
        <a:spcBef>
          <a:spcPts val="800"/>
        </a:spcBef>
        <a:buClr>
          <a:schemeClr val="accent6"/>
        </a:buClr>
        <a:buSzPct val="100000"/>
        <a:buFont typeface="Wingdings" panose="05000000000000000000" pitchFamily="2" charset="2"/>
        <a:buChar char="n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864000" indent="-180000" algn="l" defTabSz="685800" rtl="0" eaLnBrk="1" latinLnBrk="0" hangingPunct="1">
        <a:lnSpc>
          <a:spcPct val="120000"/>
        </a:lnSpc>
        <a:spcBef>
          <a:spcPts val="800"/>
        </a:spcBef>
        <a:buClr>
          <a:schemeClr val="accent6"/>
        </a:buClr>
        <a:buSzPct val="100000"/>
        <a:buFont typeface="Wingdings" panose="05000000000000000000" pitchFamily="2" charset="2"/>
        <a:buChar char="n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044000" indent="-180000" algn="l" defTabSz="685800" rtl="0" eaLnBrk="1" latinLnBrk="0" hangingPunct="1">
        <a:lnSpc>
          <a:spcPct val="120000"/>
        </a:lnSpc>
        <a:spcBef>
          <a:spcPts val="800"/>
        </a:spcBef>
        <a:buClr>
          <a:schemeClr val="accent6"/>
        </a:buClr>
        <a:buSzPct val="100000"/>
        <a:buFont typeface="Wingdings" panose="05000000000000000000" pitchFamily="2" charset="2"/>
        <a:buChar char="n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214" userDrawn="1">
          <p15:clr>
            <a:srgbClr val="F26B43"/>
          </p15:clr>
        </p15:guide>
        <p15:guide id="2" orient="horz" pos="430" userDrawn="1">
          <p15:clr>
            <a:srgbClr val="F26B43"/>
          </p15:clr>
        </p15:guide>
        <p15:guide id="3" pos="431" userDrawn="1">
          <p15:clr>
            <a:srgbClr val="F26B43"/>
          </p15:clr>
        </p15:guide>
        <p15:guide id="4" pos="645" userDrawn="1">
          <p15:clr>
            <a:srgbClr val="F26B43"/>
          </p15:clr>
        </p15:guide>
        <p15:guide id="5" orient="horz" pos="645" userDrawn="1">
          <p15:clr>
            <a:srgbClr val="F26B43"/>
          </p15:clr>
        </p15:guide>
        <p15:guide id="6" orient="horz" pos="2890" userDrawn="1">
          <p15:clr>
            <a:srgbClr val="F26B43"/>
          </p15:clr>
        </p15:guide>
        <p15:guide id="7" pos="5544" userDrawn="1">
          <p15:clr>
            <a:srgbClr val="F26B43"/>
          </p15:clr>
        </p15:guide>
        <p15:guide id="8" orient="horz" pos="929" userDrawn="1">
          <p15:clr>
            <a:srgbClr val="F26B43"/>
          </p15:clr>
        </p15:guide>
        <p15:guide id="9" orient="horz" pos="826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epo.org/en/learning/eqe-epac/european-qualifying-examination-eqe" TargetMode="Externa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epo.org/en/learning/eqe-epac/candidate-support-programme" TargetMode="Externa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3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eg"/><Relationship Id="rId1" Type="http://schemas.openxmlformats.org/officeDocument/2006/relationships/slideLayout" Target="../slideLayouts/slideLayout16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svg"/><Relationship Id="rId3" Type="http://schemas.openxmlformats.org/officeDocument/2006/relationships/image" Target="../media/image15.svg"/><Relationship Id="rId7" Type="http://schemas.openxmlformats.org/officeDocument/2006/relationships/image" Target="../media/image19.svg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2.xml"/><Relationship Id="rId6" Type="http://schemas.openxmlformats.org/officeDocument/2006/relationships/image" Target="../media/image18.svg"/><Relationship Id="rId5" Type="http://schemas.openxmlformats.org/officeDocument/2006/relationships/image" Target="../media/image17.svg"/><Relationship Id="rId4" Type="http://schemas.openxmlformats.org/officeDocument/2006/relationships/image" Target="../media/image16.sv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sv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23.svg"/><Relationship Id="rId4" Type="http://schemas.openxmlformats.org/officeDocument/2006/relationships/image" Target="../media/image22.sv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CBEA9FE-41DB-EE3C-DC39-1E8809603FC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C221829-9E45-905B-3FDA-72155F0E98B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6701" y="651813"/>
            <a:ext cx="8114400" cy="553998"/>
          </a:xfrm>
        </p:spPr>
        <p:txBody>
          <a:bodyPr/>
          <a:lstStyle/>
          <a:p>
            <a:r>
              <a:rPr lang="en-GB" sz="1800" b="1" spc="-1" dirty="0">
                <a:solidFill>
                  <a:srgbClr val="3B464D"/>
                </a:solidFill>
                <a:latin typeface="Arial"/>
              </a:rPr>
              <a:t>EUROPEAN </a:t>
            </a:r>
            <a:r>
              <a:rPr lang="en-GB" spc="-1" dirty="0">
                <a:solidFill>
                  <a:srgbClr val="3B464D"/>
                </a:solidFill>
                <a:latin typeface="Arial"/>
              </a:rPr>
              <a:t>QUALIFYING EXAMINATION</a:t>
            </a:r>
            <a:r>
              <a:rPr lang="en-GB" sz="1800" b="1" spc="-1" dirty="0">
                <a:solidFill>
                  <a:srgbClr val="3B464D"/>
                </a:solidFill>
                <a:latin typeface="Arial"/>
              </a:rPr>
              <a:t> (</a:t>
            </a:r>
            <a:r>
              <a:rPr lang="en-GB" spc="-1" dirty="0">
                <a:solidFill>
                  <a:srgbClr val="3B464D"/>
                </a:solidFill>
                <a:latin typeface="Arial"/>
              </a:rPr>
              <a:t>EQE</a:t>
            </a:r>
            <a:r>
              <a:rPr lang="en-GB" sz="1800" b="1" spc="-1" dirty="0">
                <a:solidFill>
                  <a:srgbClr val="3B464D"/>
                </a:solidFill>
                <a:latin typeface="Arial"/>
              </a:rPr>
              <a:t>)</a:t>
            </a:r>
            <a:endParaRPr lang="en-GB" dirty="0"/>
          </a:p>
        </p:txBody>
      </p:sp>
      <p:sp>
        <p:nvSpPr>
          <p:cNvPr id="5" name="Fußzeilenplatzhalter 1">
            <a:extLst>
              <a:ext uri="{FF2B5EF4-FFF2-40B4-BE49-F238E27FC236}">
                <a16:creationId xmlns:a16="http://schemas.microsoft.com/office/drawing/2014/main" id="{E5C1A3A0-9C98-90AC-7574-7A7F000A781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CANDIDATE SUPPORT PROGRAMME (CSP – EQE)</a:t>
            </a:r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4B4FD43-72C0-2A7B-50EF-992141BB65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10F439-C2F8-4B33-80A1-BE1E0F2D2225}" type="slidenum">
              <a:rPr lang="en-GB" smtClean="0"/>
              <a:t>1</a:t>
            </a:fld>
            <a:endParaRPr lang="en-GB" dirty="0"/>
          </a:p>
        </p:txBody>
      </p:sp>
      <p:sp>
        <p:nvSpPr>
          <p:cNvPr id="13" name="Freihandform: Form 34">
            <a:extLst>
              <a:ext uri="{FF2B5EF4-FFF2-40B4-BE49-F238E27FC236}">
                <a16:creationId xmlns:a16="http://schemas.microsoft.com/office/drawing/2014/main" id="{17B60974-E568-EBDD-4A89-A800C8891C21}"/>
              </a:ext>
            </a:extLst>
          </p:cNvPr>
          <p:cNvSpPr/>
          <p:nvPr/>
        </p:nvSpPr>
        <p:spPr>
          <a:xfrm>
            <a:off x="4114800" y="2008500"/>
            <a:ext cx="1031081" cy="1271588"/>
          </a:xfrm>
          <a:custGeom>
            <a:avLst/>
            <a:gdLst>
              <a:gd name="connsiteX0" fmla="*/ 78981 w 1031081"/>
              <a:gd name="connsiteY0" fmla="*/ 0 h 1271588"/>
              <a:gd name="connsiteX1" fmla="*/ 109538 w 1031081"/>
              <a:gd name="connsiteY1" fmla="*/ 0 h 1271588"/>
              <a:gd name="connsiteX2" fmla="*/ 109538 w 1031081"/>
              <a:gd name="connsiteY2" fmla="*/ 78581 h 1271588"/>
              <a:gd name="connsiteX3" fmla="*/ 87237 w 1031081"/>
              <a:gd name="connsiteY3" fmla="*/ 78581 h 1271588"/>
              <a:gd name="connsiteX4" fmla="*/ 77235 w 1031081"/>
              <a:gd name="connsiteY4" fmla="*/ 88583 h 1271588"/>
              <a:gd name="connsiteX5" fmla="*/ 77235 w 1031081"/>
              <a:gd name="connsiteY5" fmla="*/ 1183005 h 1271588"/>
              <a:gd name="connsiteX6" fmla="*/ 87237 w 1031081"/>
              <a:gd name="connsiteY6" fmla="*/ 1193007 h 1271588"/>
              <a:gd name="connsiteX7" fmla="*/ 943845 w 1031081"/>
              <a:gd name="connsiteY7" fmla="*/ 1193007 h 1271588"/>
              <a:gd name="connsiteX8" fmla="*/ 953847 w 1031081"/>
              <a:gd name="connsiteY8" fmla="*/ 1183005 h 1271588"/>
              <a:gd name="connsiteX9" fmla="*/ 953847 w 1031081"/>
              <a:gd name="connsiteY9" fmla="*/ 1162972 h 1271588"/>
              <a:gd name="connsiteX10" fmla="*/ 1031081 w 1031081"/>
              <a:gd name="connsiteY10" fmla="*/ 1162972 h 1271588"/>
              <a:gd name="connsiteX11" fmla="*/ 1031081 w 1031081"/>
              <a:gd name="connsiteY11" fmla="*/ 1192607 h 1271588"/>
              <a:gd name="connsiteX12" fmla="*/ 952100 w 1031081"/>
              <a:gd name="connsiteY12" fmla="*/ 1271588 h 1271588"/>
              <a:gd name="connsiteX13" fmla="*/ 78981 w 1031081"/>
              <a:gd name="connsiteY13" fmla="*/ 1271588 h 1271588"/>
              <a:gd name="connsiteX14" fmla="*/ 0 w 1031081"/>
              <a:gd name="connsiteY14" fmla="*/ 1192607 h 1271588"/>
              <a:gd name="connsiteX15" fmla="*/ 0 w 1031081"/>
              <a:gd name="connsiteY15" fmla="*/ 78981 h 1271588"/>
              <a:gd name="connsiteX16" fmla="*/ 78981 w 1031081"/>
              <a:gd name="connsiteY16" fmla="*/ 0 h 12715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1031081" h="1271588">
                <a:moveTo>
                  <a:pt x="78981" y="0"/>
                </a:moveTo>
                <a:lnTo>
                  <a:pt x="109538" y="0"/>
                </a:lnTo>
                <a:lnTo>
                  <a:pt x="109538" y="78581"/>
                </a:lnTo>
                <a:lnTo>
                  <a:pt x="87237" y="78581"/>
                </a:lnTo>
                <a:cubicBezTo>
                  <a:pt x="81713" y="78581"/>
                  <a:pt x="77235" y="83059"/>
                  <a:pt x="77235" y="88583"/>
                </a:cubicBezTo>
                <a:lnTo>
                  <a:pt x="77235" y="1183005"/>
                </a:lnTo>
                <a:cubicBezTo>
                  <a:pt x="77235" y="1188529"/>
                  <a:pt x="81713" y="1193007"/>
                  <a:pt x="87237" y="1193007"/>
                </a:cubicBezTo>
                <a:lnTo>
                  <a:pt x="943845" y="1193007"/>
                </a:lnTo>
                <a:cubicBezTo>
                  <a:pt x="949369" y="1193007"/>
                  <a:pt x="953847" y="1188529"/>
                  <a:pt x="953847" y="1183005"/>
                </a:cubicBezTo>
                <a:lnTo>
                  <a:pt x="953847" y="1162972"/>
                </a:lnTo>
                <a:lnTo>
                  <a:pt x="1031081" y="1162972"/>
                </a:lnTo>
                <a:lnTo>
                  <a:pt x="1031081" y="1192607"/>
                </a:lnTo>
                <a:cubicBezTo>
                  <a:pt x="1031081" y="1236227"/>
                  <a:pt x="995720" y="1271588"/>
                  <a:pt x="952100" y="1271588"/>
                </a:cubicBezTo>
                <a:lnTo>
                  <a:pt x="78981" y="1271588"/>
                </a:lnTo>
                <a:cubicBezTo>
                  <a:pt x="35361" y="1271588"/>
                  <a:pt x="0" y="1236227"/>
                  <a:pt x="0" y="1192607"/>
                </a:cubicBezTo>
                <a:lnTo>
                  <a:pt x="0" y="78981"/>
                </a:lnTo>
                <a:cubicBezTo>
                  <a:pt x="0" y="35361"/>
                  <a:pt x="35361" y="0"/>
                  <a:pt x="78981" y="0"/>
                </a:cubicBez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dirty="0"/>
          </a:p>
        </p:txBody>
      </p:sp>
      <p:sp>
        <p:nvSpPr>
          <p:cNvPr id="3" name="Textfeld 9">
            <a:extLst>
              <a:ext uri="{FF2B5EF4-FFF2-40B4-BE49-F238E27FC236}">
                <a16:creationId xmlns:a16="http://schemas.microsoft.com/office/drawing/2014/main" id="{D6EABE22-7D33-CAB0-2B75-FCE6467293F0}"/>
              </a:ext>
            </a:extLst>
          </p:cNvPr>
          <p:cNvSpPr txBox="1"/>
          <p:nvPr/>
        </p:nvSpPr>
        <p:spPr>
          <a:xfrm>
            <a:off x="5670120" y="1655225"/>
            <a:ext cx="3130981" cy="2508802"/>
          </a:xfrm>
          <a:prstGeom prst="rect">
            <a:avLst/>
          </a:prstGeom>
          <a:noFill/>
        </p:spPr>
        <p:txBody>
          <a:bodyPr wrap="square" lIns="36000" tIns="0" rIns="36000" bIns="0" anchor="t">
            <a:noAutofit/>
          </a:bodyPr>
          <a:lstStyle/>
          <a:p>
            <a:pPr marL="359410" lvl="1" indent="-179705" defTabSz="685783">
              <a:spcBef>
                <a:spcPts val="600"/>
              </a:spcBef>
              <a:buClr>
                <a:schemeClr val="accent6"/>
              </a:buClr>
              <a:buSzPct val="100000"/>
              <a:buFont typeface="Wingdings" panose="05000000000000000000" pitchFamily="2" charset="2"/>
              <a:buChar char="n"/>
              <a:tabLst>
                <a:tab pos="342900" algn="l"/>
              </a:tabLst>
            </a:pPr>
            <a:r>
              <a:rPr lang="en-GB" sz="1400" dirty="0"/>
              <a:t>EQE consists of five modular examinations covering legal and procedural knowledge, patent drafting, opposition and client advice</a:t>
            </a:r>
            <a:endParaRPr lang="en-US" sz="1400">
              <a:cs typeface="Arial"/>
            </a:endParaRPr>
          </a:p>
          <a:p>
            <a:pPr marL="359410" lvl="1" indent="-179705" defTabSz="685783">
              <a:spcBef>
                <a:spcPts val="600"/>
              </a:spcBef>
              <a:buClr>
                <a:schemeClr val="accent6"/>
              </a:buClr>
              <a:buSzPct val="100000"/>
              <a:buFont typeface="Wingdings" panose="05000000000000000000" pitchFamily="2" charset="2"/>
              <a:buChar char="n"/>
              <a:tabLst>
                <a:tab pos="342900" algn="l"/>
              </a:tabLst>
            </a:pPr>
            <a:r>
              <a:rPr lang="en-GB" sz="1400" spc="-1" dirty="0"/>
              <a:t>EQE follows a progressive, competence-based assessment</a:t>
            </a:r>
            <a:endParaRPr lang="en-GB" sz="1400" spc="-1" dirty="0">
              <a:cs typeface="Arial"/>
            </a:endParaRPr>
          </a:p>
          <a:p>
            <a:pPr marL="359410" lvl="1" indent="-179705" defTabSz="685783">
              <a:spcBef>
                <a:spcPts val="600"/>
              </a:spcBef>
              <a:buClr>
                <a:schemeClr val="accent6"/>
              </a:buClr>
              <a:buSzPct val="100000"/>
              <a:buFont typeface="Wingdings" panose="05000000000000000000" pitchFamily="2" charset="2"/>
              <a:buChar char="n"/>
              <a:tabLst>
                <a:tab pos="342900" algn="l"/>
              </a:tabLst>
            </a:pPr>
            <a:r>
              <a:rPr lang="en-GB" sz="1400" spc="-1" dirty="0"/>
              <a:t>EQE</a:t>
            </a:r>
            <a:r>
              <a:rPr lang="en-GB" sz="1400" spc="-1" dirty="0">
                <a:solidFill>
                  <a:srgbClr val="404955"/>
                </a:solidFill>
                <a:latin typeface="Arial"/>
                <a:cs typeface="Arial"/>
              </a:rPr>
              <a:t> assessment reflects real‑life professional practice, aligned with modern digital working conditions</a:t>
            </a:r>
            <a:endParaRPr lang="en-GB" altLang="en-US" sz="1400" spc="-1" dirty="0">
              <a:solidFill>
                <a:srgbClr val="FF0000"/>
              </a:solidFill>
              <a:latin typeface="Arial"/>
              <a:cs typeface="Arial"/>
            </a:endParaRPr>
          </a:p>
          <a:p>
            <a:pPr marL="359410" lvl="1" indent="-179705" defTabSz="685783">
              <a:spcBef>
                <a:spcPts val="600"/>
              </a:spcBef>
              <a:buClr>
                <a:schemeClr val="accent6"/>
              </a:buClr>
              <a:buSzPct val="100000"/>
              <a:buFont typeface="Wingdings" panose="05000000000000000000" pitchFamily="2" charset="2"/>
              <a:buChar char="n"/>
              <a:tabLst>
                <a:tab pos="342900" algn="l"/>
              </a:tabLst>
            </a:pPr>
            <a:r>
              <a:rPr lang="en-GB" sz="1400" spc="-1" dirty="0">
                <a:solidFill>
                  <a:srgbClr val="404955"/>
                </a:solidFill>
                <a:latin typeface="Arial"/>
                <a:cs typeface="Arial"/>
              </a:rPr>
              <a:t>EQE</a:t>
            </a:r>
            <a:r>
              <a:rPr lang="en-GB" sz="1400" spc="-1" dirty="0">
                <a:solidFill>
                  <a:srgbClr val="404955"/>
                </a:solidFill>
                <a:latin typeface="Arial"/>
                <a:ea typeface="+mn-lt"/>
                <a:cs typeface="Arial"/>
              </a:rPr>
              <a:t> is delivered online, ensuring accessibility for candidates regardless of location</a:t>
            </a:r>
            <a:endParaRPr lang="en-GB" altLang="en-US" sz="1400" spc="-1">
              <a:solidFill>
                <a:srgbClr val="FF0000"/>
              </a:solidFill>
              <a:latin typeface="Arial"/>
              <a:ea typeface="+mn-lt"/>
              <a:cs typeface="Arial"/>
            </a:endParaRPr>
          </a:p>
          <a:p>
            <a:pPr marL="359410" lvl="1" indent="-179705" defTabSz="685783">
              <a:spcBef>
                <a:spcPts val="600"/>
              </a:spcBef>
              <a:buClr>
                <a:schemeClr val="accent6"/>
              </a:buClr>
              <a:buSzPct val="100000"/>
              <a:buFont typeface="Wingdings" panose="05000000000000000000" pitchFamily="2" charset="2"/>
              <a:buChar char="n"/>
              <a:tabLst>
                <a:tab pos="342900" algn="l"/>
              </a:tabLst>
            </a:pPr>
            <a:endParaRPr lang="en-GB" sz="1400" spc="-1" dirty="0">
              <a:solidFill>
                <a:srgbClr val="404955"/>
              </a:solidFill>
              <a:cs typeface="Arial"/>
            </a:endParaRPr>
          </a:p>
        </p:txBody>
      </p:sp>
      <p:sp>
        <p:nvSpPr>
          <p:cNvPr id="15" name="Freihandform: Form 30">
            <a:extLst>
              <a:ext uri="{FF2B5EF4-FFF2-40B4-BE49-F238E27FC236}">
                <a16:creationId xmlns:a16="http://schemas.microsoft.com/office/drawing/2014/main" id="{0DEB8B70-2D31-72A3-0844-9A045D0B2430}"/>
              </a:ext>
            </a:extLst>
          </p:cNvPr>
          <p:cNvSpPr/>
          <p:nvPr/>
        </p:nvSpPr>
        <p:spPr>
          <a:xfrm>
            <a:off x="4226708" y="1654319"/>
            <a:ext cx="1031081" cy="1272343"/>
          </a:xfrm>
          <a:custGeom>
            <a:avLst/>
            <a:gdLst>
              <a:gd name="connsiteX0" fmla="*/ 202406 w 1031081"/>
              <a:gd name="connsiteY0" fmla="*/ 1057276 h 1272343"/>
              <a:gd name="connsiteX1" fmla="*/ 178833 w 1031081"/>
              <a:gd name="connsiteY1" fmla="*/ 1067041 h 1272343"/>
              <a:gd name="connsiteX2" fmla="*/ 169068 w 1031081"/>
              <a:gd name="connsiteY2" fmla="*/ 1090614 h 1272343"/>
              <a:gd name="connsiteX3" fmla="*/ 169068 w 1031081"/>
              <a:gd name="connsiteY3" fmla="*/ 1090613 h 1272343"/>
              <a:gd name="connsiteX4" fmla="*/ 169068 w 1031081"/>
              <a:gd name="connsiteY4" fmla="*/ 1090614 h 1272343"/>
              <a:gd name="connsiteX5" fmla="*/ 169068 w 1031081"/>
              <a:gd name="connsiteY5" fmla="*/ 1090614 h 1272343"/>
              <a:gd name="connsiteX6" fmla="*/ 178833 w 1031081"/>
              <a:gd name="connsiteY6" fmla="*/ 1114187 h 1272343"/>
              <a:gd name="connsiteX7" fmla="*/ 202406 w 1031081"/>
              <a:gd name="connsiteY7" fmla="*/ 1123951 h 1272343"/>
              <a:gd name="connsiteX8" fmla="*/ 802480 w 1031081"/>
              <a:gd name="connsiteY8" fmla="*/ 1123952 h 1272343"/>
              <a:gd name="connsiteX9" fmla="*/ 835818 w 1031081"/>
              <a:gd name="connsiteY9" fmla="*/ 1090614 h 1272343"/>
              <a:gd name="connsiteX10" fmla="*/ 835819 w 1031081"/>
              <a:gd name="connsiteY10" fmla="*/ 1090614 h 1272343"/>
              <a:gd name="connsiteX11" fmla="*/ 802481 w 1031081"/>
              <a:gd name="connsiteY11" fmla="*/ 1057276 h 1272343"/>
              <a:gd name="connsiteX12" fmla="*/ 202406 w 1031081"/>
              <a:gd name="connsiteY12" fmla="*/ 902769 h 1272343"/>
              <a:gd name="connsiteX13" fmla="*/ 178833 w 1031081"/>
              <a:gd name="connsiteY13" fmla="*/ 912534 h 1272343"/>
              <a:gd name="connsiteX14" fmla="*/ 169068 w 1031081"/>
              <a:gd name="connsiteY14" fmla="*/ 936107 h 1272343"/>
              <a:gd name="connsiteX15" fmla="*/ 178833 w 1031081"/>
              <a:gd name="connsiteY15" fmla="*/ 959680 h 1272343"/>
              <a:gd name="connsiteX16" fmla="*/ 202406 w 1031081"/>
              <a:gd name="connsiteY16" fmla="*/ 969444 h 1272343"/>
              <a:gd name="connsiteX17" fmla="*/ 802480 w 1031081"/>
              <a:gd name="connsiteY17" fmla="*/ 969445 h 1272343"/>
              <a:gd name="connsiteX18" fmla="*/ 835818 w 1031081"/>
              <a:gd name="connsiteY18" fmla="*/ 936107 h 1272343"/>
              <a:gd name="connsiteX19" fmla="*/ 835819 w 1031081"/>
              <a:gd name="connsiteY19" fmla="*/ 936107 h 1272343"/>
              <a:gd name="connsiteX20" fmla="*/ 802481 w 1031081"/>
              <a:gd name="connsiteY20" fmla="*/ 902769 h 1272343"/>
              <a:gd name="connsiteX21" fmla="*/ 202406 w 1031081"/>
              <a:gd name="connsiteY21" fmla="*/ 748263 h 1272343"/>
              <a:gd name="connsiteX22" fmla="*/ 178833 w 1031081"/>
              <a:gd name="connsiteY22" fmla="*/ 758028 h 1272343"/>
              <a:gd name="connsiteX23" fmla="*/ 169068 w 1031081"/>
              <a:gd name="connsiteY23" fmla="*/ 781601 h 1272343"/>
              <a:gd name="connsiteX24" fmla="*/ 178833 w 1031081"/>
              <a:gd name="connsiteY24" fmla="*/ 805174 h 1272343"/>
              <a:gd name="connsiteX25" fmla="*/ 202406 w 1031081"/>
              <a:gd name="connsiteY25" fmla="*/ 814938 h 1272343"/>
              <a:gd name="connsiteX26" fmla="*/ 802480 w 1031081"/>
              <a:gd name="connsiteY26" fmla="*/ 814939 h 1272343"/>
              <a:gd name="connsiteX27" fmla="*/ 835818 w 1031081"/>
              <a:gd name="connsiteY27" fmla="*/ 781601 h 1272343"/>
              <a:gd name="connsiteX28" fmla="*/ 835819 w 1031081"/>
              <a:gd name="connsiteY28" fmla="*/ 781601 h 1272343"/>
              <a:gd name="connsiteX29" fmla="*/ 802481 w 1031081"/>
              <a:gd name="connsiteY29" fmla="*/ 748263 h 1272343"/>
              <a:gd name="connsiteX30" fmla="*/ 202406 w 1031081"/>
              <a:gd name="connsiteY30" fmla="*/ 593757 h 1272343"/>
              <a:gd name="connsiteX31" fmla="*/ 178833 w 1031081"/>
              <a:gd name="connsiteY31" fmla="*/ 603522 h 1272343"/>
              <a:gd name="connsiteX32" fmla="*/ 169068 w 1031081"/>
              <a:gd name="connsiteY32" fmla="*/ 627095 h 1272343"/>
              <a:gd name="connsiteX33" fmla="*/ 178833 w 1031081"/>
              <a:gd name="connsiteY33" fmla="*/ 650668 h 1272343"/>
              <a:gd name="connsiteX34" fmla="*/ 202406 w 1031081"/>
              <a:gd name="connsiteY34" fmla="*/ 660432 h 1272343"/>
              <a:gd name="connsiteX35" fmla="*/ 802480 w 1031081"/>
              <a:gd name="connsiteY35" fmla="*/ 660433 h 1272343"/>
              <a:gd name="connsiteX36" fmla="*/ 835818 w 1031081"/>
              <a:gd name="connsiteY36" fmla="*/ 627095 h 1272343"/>
              <a:gd name="connsiteX37" fmla="*/ 835819 w 1031081"/>
              <a:gd name="connsiteY37" fmla="*/ 627095 h 1272343"/>
              <a:gd name="connsiteX38" fmla="*/ 802481 w 1031081"/>
              <a:gd name="connsiteY38" fmla="*/ 593757 h 1272343"/>
              <a:gd name="connsiteX39" fmla="*/ 202406 w 1031081"/>
              <a:gd name="connsiteY39" fmla="*/ 439251 h 1272343"/>
              <a:gd name="connsiteX40" fmla="*/ 178833 w 1031081"/>
              <a:gd name="connsiteY40" fmla="*/ 449016 h 1272343"/>
              <a:gd name="connsiteX41" fmla="*/ 169068 w 1031081"/>
              <a:gd name="connsiteY41" fmla="*/ 472589 h 1272343"/>
              <a:gd name="connsiteX42" fmla="*/ 178833 w 1031081"/>
              <a:gd name="connsiteY42" fmla="*/ 496162 h 1272343"/>
              <a:gd name="connsiteX43" fmla="*/ 202406 w 1031081"/>
              <a:gd name="connsiteY43" fmla="*/ 505926 h 1272343"/>
              <a:gd name="connsiteX44" fmla="*/ 531018 w 1031081"/>
              <a:gd name="connsiteY44" fmla="*/ 505927 h 1272343"/>
              <a:gd name="connsiteX45" fmla="*/ 564356 w 1031081"/>
              <a:gd name="connsiteY45" fmla="*/ 472589 h 1272343"/>
              <a:gd name="connsiteX46" fmla="*/ 564357 w 1031081"/>
              <a:gd name="connsiteY46" fmla="*/ 472589 h 1272343"/>
              <a:gd name="connsiteX47" fmla="*/ 531019 w 1031081"/>
              <a:gd name="connsiteY47" fmla="*/ 439251 h 1272343"/>
              <a:gd name="connsiteX48" fmla="*/ 664368 w 1031081"/>
              <a:gd name="connsiteY48" fmla="*/ 74196 h 1272343"/>
              <a:gd name="connsiteX49" fmla="*/ 664368 w 1031081"/>
              <a:gd name="connsiteY49" fmla="*/ 355353 h 1272343"/>
              <a:gd name="connsiteX50" fmla="*/ 684250 w 1031081"/>
              <a:gd name="connsiteY50" fmla="*/ 375235 h 1272343"/>
              <a:gd name="connsiteX51" fmla="*/ 904042 w 1031081"/>
              <a:gd name="connsiteY51" fmla="*/ 375235 h 1272343"/>
              <a:gd name="connsiteX52" fmla="*/ 923924 w 1031081"/>
              <a:gd name="connsiteY52" fmla="*/ 355353 h 1272343"/>
              <a:gd name="connsiteX53" fmla="*/ 923924 w 1031081"/>
              <a:gd name="connsiteY53" fmla="*/ 333752 h 1272343"/>
              <a:gd name="connsiteX54" fmla="*/ 690561 w 1031081"/>
              <a:gd name="connsiteY54" fmla="*/ 0 h 1272343"/>
              <a:gd name="connsiteX55" fmla="*/ 759219 w 1031081"/>
              <a:gd name="connsiteY55" fmla="*/ 41236 h 1272343"/>
              <a:gd name="connsiteX56" fmla="*/ 992981 w 1031081"/>
              <a:gd name="connsiteY56" fmla="*/ 279761 h 1272343"/>
              <a:gd name="connsiteX57" fmla="*/ 1031081 w 1031081"/>
              <a:gd name="connsiteY57" fmla="*/ 350044 h 1272343"/>
              <a:gd name="connsiteX58" fmla="*/ 1031081 w 1031081"/>
              <a:gd name="connsiteY58" fmla="*/ 1193362 h 1272343"/>
              <a:gd name="connsiteX59" fmla="*/ 952100 w 1031081"/>
              <a:gd name="connsiteY59" fmla="*/ 1272343 h 1272343"/>
              <a:gd name="connsiteX60" fmla="*/ 78981 w 1031081"/>
              <a:gd name="connsiteY60" fmla="*/ 1272343 h 1272343"/>
              <a:gd name="connsiteX61" fmla="*/ 0 w 1031081"/>
              <a:gd name="connsiteY61" fmla="*/ 1193362 h 1272343"/>
              <a:gd name="connsiteX62" fmla="*/ 0 w 1031081"/>
              <a:gd name="connsiteY62" fmla="*/ 79736 h 1272343"/>
              <a:gd name="connsiteX63" fmla="*/ 78981 w 1031081"/>
              <a:gd name="connsiteY63" fmla="*/ 755 h 12723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</a:cxnLst>
            <a:rect l="l" t="t" r="r" b="b"/>
            <a:pathLst>
              <a:path w="1031081" h="1272343">
                <a:moveTo>
                  <a:pt x="202406" y="1057276"/>
                </a:moveTo>
                <a:cubicBezTo>
                  <a:pt x="193200" y="1057276"/>
                  <a:pt x="184866" y="1061008"/>
                  <a:pt x="178833" y="1067041"/>
                </a:cubicBezTo>
                <a:lnTo>
                  <a:pt x="169068" y="1090614"/>
                </a:lnTo>
                <a:lnTo>
                  <a:pt x="169068" y="1090613"/>
                </a:lnTo>
                <a:lnTo>
                  <a:pt x="169068" y="1090614"/>
                </a:lnTo>
                <a:lnTo>
                  <a:pt x="169068" y="1090614"/>
                </a:lnTo>
                <a:lnTo>
                  <a:pt x="178833" y="1114187"/>
                </a:lnTo>
                <a:cubicBezTo>
                  <a:pt x="184866" y="1120220"/>
                  <a:pt x="193200" y="1123951"/>
                  <a:pt x="202406" y="1123951"/>
                </a:cubicBezTo>
                <a:lnTo>
                  <a:pt x="802480" y="1123952"/>
                </a:lnTo>
                <a:cubicBezTo>
                  <a:pt x="820892" y="1123952"/>
                  <a:pt x="835818" y="1109026"/>
                  <a:pt x="835818" y="1090614"/>
                </a:cubicBezTo>
                <a:lnTo>
                  <a:pt x="835819" y="1090614"/>
                </a:lnTo>
                <a:cubicBezTo>
                  <a:pt x="835819" y="1072202"/>
                  <a:pt x="820893" y="1057276"/>
                  <a:pt x="802481" y="1057276"/>
                </a:cubicBezTo>
                <a:close/>
                <a:moveTo>
                  <a:pt x="202406" y="902769"/>
                </a:moveTo>
                <a:cubicBezTo>
                  <a:pt x="193200" y="902769"/>
                  <a:pt x="184866" y="906501"/>
                  <a:pt x="178833" y="912534"/>
                </a:cubicBezTo>
                <a:lnTo>
                  <a:pt x="169068" y="936107"/>
                </a:lnTo>
                <a:lnTo>
                  <a:pt x="178833" y="959680"/>
                </a:lnTo>
                <a:cubicBezTo>
                  <a:pt x="184866" y="965713"/>
                  <a:pt x="193200" y="969444"/>
                  <a:pt x="202406" y="969444"/>
                </a:cubicBezTo>
                <a:lnTo>
                  <a:pt x="802480" y="969445"/>
                </a:lnTo>
                <a:cubicBezTo>
                  <a:pt x="820892" y="969445"/>
                  <a:pt x="835818" y="954519"/>
                  <a:pt x="835818" y="936107"/>
                </a:cubicBezTo>
                <a:lnTo>
                  <a:pt x="835819" y="936107"/>
                </a:lnTo>
                <a:cubicBezTo>
                  <a:pt x="835819" y="917695"/>
                  <a:pt x="820893" y="902769"/>
                  <a:pt x="802481" y="902769"/>
                </a:cubicBezTo>
                <a:close/>
                <a:moveTo>
                  <a:pt x="202406" y="748263"/>
                </a:moveTo>
                <a:cubicBezTo>
                  <a:pt x="193200" y="748263"/>
                  <a:pt x="184866" y="751995"/>
                  <a:pt x="178833" y="758028"/>
                </a:cubicBezTo>
                <a:lnTo>
                  <a:pt x="169068" y="781601"/>
                </a:lnTo>
                <a:lnTo>
                  <a:pt x="178833" y="805174"/>
                </a:lnTo>
                <a:cubicBezTo>
                  <a:pt x="184866" y="811207"/>
                  <a:pt x="193200" y="814938"/>
                  <a:pt x="202406" y="814938"/>
                </a:cubicBezTo>
                <a:lnTo>
                  <a:pt x="802480" y="814939"/>
                </a:lnTo>
                <a:cubicBezTo>
                  <a:pt x="820892" y="814939"/>
                  <a:pt x="835818" y="800013"/>
                  <a:pt x="835818" y="781601"/>
                </a:cubicBezTo>
                <a:lnTo>
                  <a:pt x="835819" y="781601"/>
                </a:lnTo>
                <a:cubicBezTo>
                  <a:pt x="835819" y="763189"/>
                  <a:pt x="820893" y="748263"/>
                  <a:pt x="802481" y="748263"/>
                </a:cubicBezTo>
                <a:close/>
                <a:moveTo>
                  <a:pt x="202406" y="593757"/>
                </a:moveTo>
                <a:cubicBezTo>
                  <a:pt x="193200" y="593757"/>
                  <a:pt x="184866" y="597489"/>
                  <a:pt x="178833" y="603522"/>
                </a:cubicBezTo>
                <a:lnTo>
                  <a:pt x="169068" y="627095"/>
                </a:lnTo>
                <a:lnTo>
                  <a:pt x="178833" y="650668"/>
                </a:lnTo>
                <a:cubicBezTo>
                  <a:pt x="184866" y="656701"/>
                  <a:pt x="193200" y="660432"/>
                  <a:pt x="202406" y="660432"/>
                </a:cubicBezTo>
                <a:lnTo>
                  <a:pt x="802480" y="660433"/>
                </a:lnTo>
                <a:cubicBezTo>
                  <a:pt x="820892" y="660433"/>
                  <a:pt x="835818" y="645507"/>
                  <a:pt x="835818" y="627095"/>
                </a:cubicBezTo>
                <a:lnTo>
                  <a:pt x="835819" y="627095"/>
                </a:lnTo>
                <a:cubicBezTo>
                  <a:pt x="835819" y="608683"/>
                  <a:pt x="820893" y="593757"/>
                  <a:pt x="802481" y="593757"/>
                </a:cubicBezTo>
                <a:close/>
                <a:moveTo>
                  <a:pt x="202406" y="439251"/>
                </a:moveTo>
                <a:cubicBezTo>
                  <a:pt x="193200" y="439251"/>
                  <a:pt x="184866" y="442983"/>
                  <a:pt x="178833" y="449016"/>
                </a:cubicBezTo>
                <a:lnTo>
                  <a:pt x="169068" y="472589"/>
                </a:lnTo>
                <a:lnTo>
                  <a:pt x="178833" y="496162"/>
                </a:lnTo>
                <a:cubicBezTo>
                  <a:pt x="184866" y="502195"/>
                  <a:pt x="193200" y="505926"/>
                  <a:pt x="202406" y="505926"/>
                </a:cubicBezTo>
                <a:lnTo>
                  <a:pt x="531018" y="505927"/>
                </a:lnTo>
                <a:cubicBezTo>
                  <a:pt x="549430" y="505927"/>
                  <a:pt x="564356" y="491001"/>
                  <a:pt x="564356" y="472589"/>
                </a:cubicBezTo>
                <a:lnTo>
                  <a:pt x="564357" y="472589"/>
                </a:lnTo>
                <a:cubicBezTo>
                  <a:pt x="564357" y="454177"/>
                  <a:pt x="549431" y="439251"/>
                  <a:pt x="531019" y="439251"/>
                </a:cubicBezTo>
                <a:close/>
                <a:moveTo>
                  <a:pt x="664368" y="74196"/>
                </a:moveTo>
                <a:lnTo>
                  <a:pt x="664368" y="355353"/>
                </a:lnTo>
                <a:cubicBezTo>
                  <a:pt x="664368" y="366334"/>
                  <a:pt x="673269" y="375235"/>
                  <a:pt x="684250" y="375235"/>
                </a:cubicBezTo>
                <a:lnTo>
                  <a:pt x="904042" y="375235"/>
                </a:lnTo>
                <a:cubicBezTo>
                  <a:pt x="915023" y="375235"/>
                  <a:pt x="923924" y="366334"/>
                  <a:pt x="923924" y="355353"/>
                </a:cubicBezTo>
                <a:lnTo>
                  <a:pt x="923924" y="333752"/>
                </a:lnTo>
                <a:close/>
                <a:moveTo>
                  <a:pt x="690561" y="0"/>
                </a:moveTo>
                <a:cubicBezTo>
                  <a:pt x="730117" y="4220"/>
                  <a:pt x="741096" y="25110"/>
                  <a:pt x="759219" y="41236"/>
                </a:cubicBezTo>
                <a:lnTo>
                  <a:pt x="992981" y="279761"/>
                </a:lnTo>
                <a:cubicBezTo>
                  <a:pt x="1008062" y="298427"/>
                  <a:pt x="1030287" y="319472"/>
                  <a:pt x="1031081" y="350044"/>
                </a:cubicBezTo>
                <a:lnTo>
                  <a:pt x="1031081" y="1193362"/>
                </a:lnTo>
                <a:cubicBezTo>
                  <a:pt x="1031081" y="1236982"/>
                  <a:pt x="995720" y="1272343"/>
                  <a:pt x="952100" y="1272343"/>
                </a:cubicBezTo>
                <a:lnTo>
                  <a:pt x="78981" y="1272343"/>
                </a:lnTo>
                <a:cubicBezTo>
                  <a:pt x="35361" y="1272343"/>
                  <a:pt x="0" y="1236982"/>
                  <a:pt x="0" y="1193362"/>
                </a:cubicBezTo>
                <a:lnTo>
                  <a:pt x="0" y="79736"/>
                </a:lnTo>
                <a:cubicBezTo>
                  <a:pt x="0" y="36116"/>
                  <a:pt x="35361" y="755"/>
                  <a:pt x="78981" y="755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dirty="0"/>
          </a:p>
        </p:txBody>
      </p:sp>
      <p:sp>
        <p:nvSpPr>
          <p:cNvPr id="17" name="Freihandform: Form 12">
            <a:extLst>
              <a:ext uri="{FF2B5EF4-FFF2-40B4-BE49-F238E27FC236}">
                <a16:creationId xmlns:a16="http://schemas.microsoft.com/office/drawing/2014/main" id="{D6FE9CDC-319E-1119-7C7C-24735876587F}"/>
              </a:ext>
            </a:extLst>
          </p:cNvPr>
          <p:cNvSpPr/>
          <p:nvPr/>
        </p:nvSpPr>
        <p:spPr>
          <a:xfrm>
            <a:off x="684264" y="1511662"/>
            <a:ext cx="3343275" cy="1759643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0"/>
                </a:moveTo>
                <a:lnTo>
                  <a:pt x="19692" y="0"/>
                </a:lnTo>
                <a:lnTo>
                  <a:pt x="19692" y="21600"/>
                </a:lnTo>
                <a:lnTo>
                  <a:pt x="21600" y="21600"/>
                </a:lnTo>
              </a:path>
            </a:pathLst>
          </a:custGeom>
          <a:ln w="19050">
            <a:solidFill>
              <a:schemeClr val="accent5"/>
            </a:solidFill>
            <a:prstDash val="sysDash"/>
            <a:miter/>
          </a:ln>
        </p:spPr>
        <p:txBody>
          <a:bodyPr lIns="45719" rIns="45719" anchor="ctr"/>
          <a:lstStyle/>
          <a:p>
            <a:pPr algn="ctr">
              <a:defRPr>
                <a:solidFill>
                  <a:srgbClr val="FFFFFF"/>
                </a:solidFill>
              </a:defRPr>
            </a:pPr>
            <a:endParaRPr lang="en-GB" dirty="0"/>
          </a:p>
        </p:txBody>
      </p:sp>
      <p:sp>
        <p:nvSpPr>
          <p:cNvPr id="18" name="Freihandform: Form 13">
            <a:extLst>
              <a:ext uri="{FF2B5EF4-FFF2-40B4-BE49-F238E27FC236}">
                <a16:creationId xmlns:a16="http://schemas.microsoft.com/office/drawing/2014/main" id="{7EB4619D-E745-64F6-128D-6F2FFC8AED76}"/>
              </a:ext>
            </a:extLst>
          </p:cNvPr>
          <p:cNvSpPr/>
          <p:nvPr/>
        </p:nvSpPr>
        <p:spPr>
          <a:xfrm flipH="1">
            <a:off x="5258345" y="1509460"/>
            <a:ext cx="3543301" cy="1759643"/>
          </a:xfrm>
          <a:custGeom>
            <a:avLst/>
            <a:gdLst>
              <a:gd name="connsiteX0" fmla="*/ 0 w 3343275"/>
              <a:gd name="connsiteY0" fmla="*/ 0 h 1462088"/>
              <a:gd name="connsiteX1" fmla="*/ 3048000 w 3343275"/>
              <a:gd name="connsiteY1" fmla="*/ 0 h 1462088"/>
              <a:gd name="connsiteX2" fmla="*/ 3048000 w 3343275"/>
              <a:gd name="connsiteY2" fmla="*/ 1462088 h 1462088"/>
              <a:gd name="connsiteX3" fmla="*/ 3343275 w 3343275"/>
              <a:gd name="connsiteY3" fmla="*/ 1462088 h 1462088"/>
              <a:gd name="connsiteX0" fmla="*/ 0 w 3430892"/>
              <a:gd name="connsiteY0" fmla="*/ 0 h 1462088"/>
              <a:gd name="connsiteX1" fmla="*/ 3048000 w 3430892"/>
              <a:gd name="connsiteY1" fmla="*/ 0 h 1462088"/>
              <a:gd name="connsiteX2" fmla="*/ 3048000 w 3430892"/>
              <a:gd name="connsiteY2" fmla="*/ 1462088 h 1462088"/>
              <a:gd name="connsiteX3" fmla="*/ 3430892 w 3430892"/>
              <a:gd name="connsiteY3" fmla="*/ 1462088 h 14620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430892" h="1462088">
                <a:moveTo>
                  <a:pt x="0" y="0"/>
                </a:moveTo>
                <a:lnTo>
                  <a:pt x="3048000" y="0"/>
                </a:lnTo>
                <a:lnTo>
                  <a:pt x="3048000" y="1462088"/>
                </a:lnTo>
                <a:lnTo>
                  <a:pt x="3430892" y="1462088"/>
                </a:lnTo>
              </a:path>
            </a:pathLst>
          </a:custGeom>
          <a:noFill/>
          <a:ln w="19050">
            <a:solidFill>
              <a:schemeClr val="accent5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8" name="Textfeld 9">
            <a:extLst>
              <a:ext uri="{FF2B5EF4-FFF2-40B4-BE49-F238E27FC236}">
                <a16:creationId xmlns:a16="http://schemas.microsoft.com/office/drawing/2014/main" id="{C77818E2-C4D0-F084-F6C1-062DEE72C5DD}"/>
              </a:ext>
            </a:extLst>
          </p:cNvPr>
          <p:cNvSpPr txBox="1"/>
          <p:nvPr/>
        </p:nvSpPr>
        <p:spPr>
          <a:xfrm>
            <a:off x="341791" y="1391456"/>
            <a:ext cx="3377662" cy="3373774"/>
          </a:xfrm>
          <a:prstGeom prst="rect">
            <a:avLst/>
          </a:prstGeom>
          <a:noFill/>
        </p:spPr>
        <p:txBody>
          <a:bodyPr wrap="square" lIns="36000" tIns="0" rIns="36000" bIns="0" anchor="t">
            <a:noAutofit/>
          </a:bodyPr>
          <a:lstStyle/>
          <a:p>
            <a:pPr lvl="1" defTabSz="685783">
              <a:spcBef>
                <a:spcPts val="600"/>
              </a:spcBef>
              <a:buClr>
                <a:schemeClr val="accent6"/>
              </a:buClr>
              <a:buSzPct val="100000"/>
              <a:tabLst>
                <a:tab pos="342900" algn="l"/>
              </a:tabLst>
            </a:pPr>
            <a:endParaRPr lang="en-GB" sz="1400" dirty="0">
              <a:cs typeface="Arial"/>
            </a:endParaRPr>
          </a:p>
          <a:p>
            <a:pPr marL="359410" lvl="1" indent="-179705" defTabSz="685783">
              <a:spcBef>
                <a:spcPts val="600"/>
              </a:spcBef>
              <a:buClr>
                <a:srgbClr val="D93317"/>
              </a:buClr>
              <a:buSzPct val="100000"/>
              <a:buFont typeface="Wingdings,Sans-Serif" panose="05000000000000000000" pitchFamily="2" charset="2"/>
              <a:buChar char="n"/>
              <a:tabLst>
                <a:tab pos="342900" algn="l"/>
              </a:tabLst>
            </a:pPr>
            <a:r>
              <a:rPr lang="en-GB" sz="1400" dirty="0">
                <a:cs typeface="Arial"/>
              </a:rPr>
              <a:t>EQE is a professional qualifying examination for European patent attorneys </a:t>
            </a:r>
          </a:p>
          <a:p>
            <a:pPr marL="359410" lvl="1" indent="-179705" defTabSz="685783">
              <a:spcBef>
                <a:spcPts val="600"/>
              </a:spcBef>
              <a:buClr>
                <a:srgbClr val="D93317"/>
              </a:buClr>
              <a:buSzPct val="100000"/>
              <a:buFont typeface="Wingdings,Sans-Serif" panose="05000000000000000000" pitchFamily="2" charset="2"/>
              <a:buChar char="n"/>
              <a:tabLst>
                <a:tab pos="342900" algn="l"/>
              </a:tabLst>
            </a:pPr>
            <a:r>
              <a:rPr lang="en-GB" sz="1400" dirty="0">
                <a:cs typeface="Arial"/>
              </a:rPr>
              <a:t>The EQE tests candidates’ "fitness-to-practice" to represent applicants in proceedings before the EPO</a:t>
            </a:r>
            <a:endParaRPr lang="en-GB" dirty="0">
              <a:cs typeface="Arial"/>
            </a:endParaRPr>
          </a:p>
          <a:p>
            <a:pPr marL="359410" lvl="1" indent="-179705" defTabSz="685783">
              <a:spcBef>
                <a:spcPts val="600"/>
              </a:spcBef>
              <a:buClr>
                <a:srgbClr val="D93317"/>
              </a:buClr>
              <a:buSzPct val="100000"/>
              <a:buFont typeface="Wingdings,Sans-Serif" panose="05000000000000000000" pitchFamily="2" charset="2"/>
              <a:buChar char="n"/>
              <a:tabLst>
                <a:tab pos="342900" algn="l"/>
              </a:tabLst>
            </a:pPr>
            <a:r>
              <a:rPr lang="en-GB" sz="1400" dirty="0">
                <a:cs typeface="Arial"/>
              </a:rPr>
              <a:t>Established</a:t>
            </a:r>
            <a:r>
              <a:rPr lang="en-GB" sz="1400" dirty="0">
                <a:ea typeface="+mn-lt"/>
                <a:cs typeface="+mn-lt"/>
              </a:rPr>
              <a:t> in 1979, the EQE is widely recognised for its high professional standards in the IP field</a:t>
            </a:r>
            <a:endParaRPr lang="en-GB" dirty="0">
              <a:ea typeface="+mn-lt"/>
              <a:cs typeface="+mn-lt"/>
            </a:endParaRPr>
          </a:p>
          <a:p>
            <a:pPr marL="359410" lvl="1" indent="-179705" defTabSz="685783">
              <a:spcBef>
                <a:spcPts val="600"/>
              </a:spcBef>
              <a:buClr>
                <a:srgbClr val="D93317"/>
              </a:buClr>
              <a:buSzPct val="100000"/>
              <a:buFont typeface="Wingdings,Sans-Serif" panose="05000000000000000000" pitchFamily="2" charset="2"/>
              <a:buChar char="n"/>
              <a:tabLst>
                <a:tab pos="342900" algn="l"/>
              </a:tabLst>
            </a:pPr>
            <a:r>
              <a:rPr lang="en-GB" sz="1400" dirty="0">
                <a:cs typeface="Arial"/>
              </a:rPr>
              <a:t>Around 15 000 candidates have successfully passed the EQE since its inception</a:t>
            </a:r>
          </a:p>
          <a:p>
            <a:pPr marL="179705" lvl="1" defTabSz="685783">
              <a:spcBef>
                <a:spcPts val="600"/>
              </a:spcBef>
              <a:tabLst>
                <a:tab pos="342900" algn="l"/>
              </a:tabLst>
            </a:pPr>
            <a:endParaRPr lang="en-GB" sz="1200" dirty="0">
              <a:solidFill>
                <a:srgbClr val="404955"/>
              </a:solidFill>
              <a:cs typeface="Arial"/>
            </a:endParaRPr>
          </a:p>
          <a:p>
            <a:pPr marL="359410" lvl="1" indent="-179705" defTabSz="685783">
              <a:spcBef>
                <a:spcPts val="600"/>
              </a:spcBef>
              <a:buClr>
                <a:srgbClr val="D93317"/>
              </a:buClr>
              <a:buSzPct val="100000"/>
              <a:buFont typeface="Wingdings" panose="05000000000000000000" pitchFamily="2" charset="2"/>
              <a:buChar char="n"/>
              <a:tabLst>
                <a:tab pos="342900" algn="l"/>
              </a:tabLst>
            </a:pPr>
            <a:endParaRPr lang="en-GB" sz="1300" dirty="0">
              <a:solidFill>
                <a:srgbClr val="404955"/>
              </a:solidFill>
              <a:cs typeface="Arial"/>
            </a:endParaRPr>
          </a:p>
        </p:txBody>
      </p:sp>
      <p:sp>
        <p:nvSpPr>
          <p:cNvPr id="10" name="Content Placeholder 6">
            <a:extLst>
              <a:ext uri="{FF2B5EF4-FFF2-40B4-BE49-F238E27FC236}">
                <a16:creationId xmlns:a16="http://schemas.microsoft.com/office/drawing/2014/main" id="{1A1A9711-E7E5-749B-A45C-46FEAB478BB0}"/>
              </a:ext>
            </a:extLst>
          </p:cNvPr>
          <p:cNvSpPr txBox="1">
            <a:spLocks/>
          </p:cNvSpPr>
          <p:nvPr/>
        </p:nvSpPr>
        <p:spPr>
          <a:xfrm>
            <a:off x="3654601" y="4449171"/>
            <a:ext cx="2175857" cy="253916"/>
          </a:xfrm>
          <a:prstGeom prst="rect">
            <a:avLst/>
          </a:prstGeom>
        </p:spPr>
        <p:txBody>
          <a:bodyPr vert="horz" wrap="square" lIns="72000" tIns="45720" rIns="72000" bIns="45720" anchor="ctr" anchorCtr="0">
            <a:spAutoFit/>
          </a:bodyPr>
          <a:lstStyle>
            <a:lvl1pPr marL="0" indent="0" algn="l" defTabSz="685800" rtl="0" eaLnBrk="1" latinLnBrk="0" hangingPunct="1">
              <a:lnSpc>
                <a:spcPct val="120000"/>
              </a:lnSpc>
              <a:spcBef>
                <a:spcPts val="8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4000" indent="-180000" algn="l" defTabSz="685800" rtl="0" eaLnBrk="1" latinLnBrk="0" hangingPunct="1">
              <a:lnSpc>
                <a:spcPct val="120000"/>
              </a:lnSpc>
              <a:spcBef>
                <a:spcPts val="800"/>
              </a:spcBef>
              <a:buClr>
                <a:schemeClr val="accent6"/>
              </a:buClr>
              <a:buSzPct val="100000"/>
              <a:buFont typeface="Wingdings" panose="05000000000000000000" pitchFamily="2" charset="2"/>
              <a:buChar char="n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4000" indent="-180000" algn="l" defTabSz="685800" rtl="0" eaLnBrk="1" latinLnBrk="0" hangingPunct="1">
              <a:lnSpc>
                <a:spcPct val="120000"/>
              </a:lnSpc>
              <a:spcBef>
                <a:spcPts val="800"/>
              </a:spcBef>
              <a:buClr>
                <a:schemeClr val="accent6"/>
              </a:buClr>
              <a:buSzPct val="100000"/>
              <a:buFont typeface="Wingdings" panose="05000000000000000000" pitchFamily="2" charset="2"/>
              <a:buChar char="n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64000" indent="-180000" algn="l" defTabSz="685800" rtl="0" eaLnBrk="1" latinLnBrk="0" hangingPunct="1">
              <a:lnSpc>
                <a:spcPct val="120000"/>
              </a:lnSpc>
              <a:spcBef>
                <a:spcPts val="800"/>
              </a:spcBef>
              <a:buClr>
                <a:schemeClr val="accent6"/>
              </a:buClr>
              <a:buSzPct val="100000"/>
              <a:buFont typeface="Wingdings" panose="05000000000000000000" pitchFamily="2" charset="2"/>
              <a:buChar char="n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44000" indent="-180000" algn="l" defTabSz="685800" rtl="0" eaLnBrk="1" latinLnBrk="0" hangingPunct="1">
              <a:lnSpc>
                <a:spcPct val="120000"/>
              </a:lnSpc>
              <a:spcBef>
                <a:spcPts val="800"/>
              </a:spcBef>
              <a:buClr>
                <a:schemeClr val="accent6"/>
              </a:buClr>
              <a:buSzPct val="100000"/>
              <a:buFont typeface="Wingdings" panose="05000000000000000000" pitchFamily="2" charset="2"/>
              <a:buChar char="n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lnSpc>
                <a:spcPct val="100000"/>
              </a:lnSpc>
              <a:spcBef>
                <a:spcPts val="0"/>
              </a:spcBef>
            </a:pPr>
            <a:r>
              <a:rPr lang="en-GB" sz="1050" b="1" dirty="0"/>
              <a:t>Learn more about the EQE </a:t>
            </a:r>
            <a:r>
              <a:rPr lang="en-GB" sz="1050" b="1" dirty="0">
                <a:hlinkClick r:id="rId3"/>
              </a:rPr>
              <a:t>here</a:t>
            </a:r>
            <a:endParaRPr lang="en-US" sz="1050" b="1"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82192455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9F962BF-3AA4-27CD-625B-85A538E07D8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F7254D7D-5006-8A15-3B27-01B8EAD63C76}"/>
              </a:ext>
            </a:extLst>
          </p:cNvPr>
          <p:cNvSpPr/>
          <p:nvPr/>
        </p:nvSpPr>
        <p:spPr>
          <a:xfrm flipH="1">
            <a:off x="4965700" y="1475320"/>
            <a:ext cx="3835400" cy="457200"/>
          </a:xfrm>
          <a:prstGeom prst="homePlate">
            <a:avLst>
              <a:gd name="adj" fmla="val 28868"/>
            </a:avLst>
          </a:prstGeom>
          <a:solidFill>
            <a:schemeClr val="accent4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180000" tIns="36000" rIns="36000" bIns="36000" numCol="1" spcCol="1270" anchor="ctr" anchorCtr="0">
            <a:noAutofit/>
          </a:bodyPr>
          <a:lstStyle/>
          <a:p>
            <a:pPr marL="0" lvl="0" indent="0" defTabSz="577850">
              <a:spcBef>
                <a:spcPct val="0"/>
              </a:spcBef>
              <a:spcAft>
                <a:spcPct val="35000"/>
              </a:spcAft>
              <a:buNone/>
            </a:pPr>
            <a:r>
              <a:rPr lang="en-GB" sz="1400" kern="1200" dirty="0">
                <a:solidFill>
                  <a:schemeClr val="tx1"/>
                </a:solidFill>
              </a:rPr>
              <a:t>Commitment to quality</a:t>
            </a:r>
          </a:p>
        </p:txBody>
      </p:sp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4C7BA50F-63EA-ADB1-04F9-9E551A7CCD24}"/>
              </a:ext>
            </a:extLst>
          </p:cNvPr>
          <p:cNvSpPr/>
          <p:nvPr/>
        </p:nvSpPr>
        <p:spPr>
          <a:xfrm flipH="1">
            <a:off x="5299213" y="2139548"/>
            <a:ext cx="3501887" cy="457200"/>
          </a:xfrm>
          <a:prstGeom prst="homePlate">
            <a:avLst>
              <a:gd name="adj" fmla="val 28868"/>
            </a:avLst>
          </a:prstGeom>
          <a:solidFill>
            <a:schemeClr val="accent4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180000" tIns="36000" rIns="36000" bIns="36000" numCol="1" spcCol="1270" anchor="ctr" anchorCtr="0">
            <a:noAutofit/>
          </a:bodyPr>
          <a:lstStyle/>
          <a:p>
            <a:pPr marL="0" lvl="0" indent="0" defTabSz="577850">
              <a:spcBef>
                <a:spcPct val="0"/>
              </a:spcBef>
              <a:spcAft>
                <a:spcPct val="35000"/>
              </a:spcAft>
              <a:buNone/>
            </a:pPr>
            <a:r>
              <a:rPr lang="en-GB" sz="1400" kern="1200" dirty="0">
                <a:solidFill>
                  <a:schemeClr val="tx1"/>
                </a:solidFill>
              </a:rPr>
              <a:t>Comprehensive support</a:t>
            </a:r>
          </a:p>
        </p:txBody>
      </p:sp>
      <p:sp>
        <p:nvSpPr>
          <p:cNvPr id="18" name="Freeform: Shape 17">
            <a:extLst>
              <a:ext uri="{FF2B5EF4-FFF2-40B4-BE49-F238E27FC236}">
                <a16:creationId xmlns:a16="http://schemas.microsoft.com/office/drawing/2014/main" id="{914D35FA-74C6-4955-D473-9CD259C36507}"/>
              </a:ext>
            </a:extLst>
          </p:cNvPr>
          <p:cNvSpPr/>
          <p:nvPr/>
        </p:nvSpPr>
        <p:spPr>
          <a:xfrm flipH="1">
            <a:off x="5632726" y="2803776"/>
            <a:ext cx="3168374" cy="457200"/>
          </a:xfrm>
          <a:prstGeom prst="homePlate">
            <a:avLst>
              <a:gd name="adj" fmla="val 28868"/>
            </a:avLst>
          </a:prstGeom>
          <a:solidFill>
            <a:schemeClr val="accent4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180000" tIns="36000" rIns="36000" bIns="36000" numCol="1" spcCol="1270" anchor="ctr" anchorCtr="0">
            <a:noAutofit/>
          </a:bodyPr>
          <a:lstStyle/>
          <a:p>
            <a:pPr marL="0" lvl="0" indent="0" defTabSz="577850">
              <a:spcBef>
                <a:spcPct val="0"/>
              </a:spcBef>
              <a:spcAft>
                <a:spcPct val="35000"/>
              </a:spcAft>
              <a:buNone/>
            </a:pPr>
            <a:r>
              <a:rPr lang="en-GB" sz="1400" kern="1200" dirty="0">
                <a:solidFill>
                  <a:schemeClr val="tx1"/>
                </a:solidFill>
              </a:rPr>
              <a:t>Candidate selection by MS</a:t>
            </a:r>
          </a:p>
        </p:txBody>
      </p:sp>
      <p:sp>
        <p:nvSpPr>
          <p:cNvPr id="20" name="Freeform: Shape 19">
            <a:extLst>
              <a:ext uri="{FF2B5EF4-FFF2-40B4-BE49-F238E27FC236}">
                <a16:creationId xmlns:a16="http://schemas.microsoft.com/office/drawing/2014/main" id="{74EE84AD-F839-F4E9-15BC-B5FA6E765383}"/>
              </a:ext>
            </a:extLst>
          </p:cNvPr>
          <p:cNvSpPr/>
          <p:nvPr/>
        </p:nvSpPr>
        <p:spPr>
          <a:xfrm flipH="1">
            <a:off x="5299213" y="3468004"/>
            <a:ext cx="3501887" cy="457200"/>
          </a:xfrm>
          <a:prstGeom prst="homePlate">
            <a:avLst>
              <a:gd name="adj" fmla="val 28868"/>
            </a:avLst>
          </a:prstGeom>
          <a:solidFill>
            <a:schemeClr val="accent4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180000" tIns="36000" rIns="36000" bIns="36000" numCol="1" spcCol="1270" anchor="ctr" anchorCtr="0">
            <a:noAutofit/>
          </a:bodyPr>
          <a:lstStyle/>
          <a:p>
            <a:pPr defTabSz="577850">
              <a:spcBef>
                <a:spcPct val="0"/>
              </a:spcBef>
              <a:spcAft>
                <a:spcPct val="35000"/>
              </a:spcAft>
            </a:pPr>
            <a:r>
              <a:rPr lang="en-GB" sz="1400" dirty="0">
                <a:solidFill>
                  <a:schemeClr val="tx1"/>
                </a:solidFill>
                <a:cs typeface="Arial"/>
              </a:rPr>
              <a:t>"Giving back" principle</a:t>
            </a:r>
            <a:endParaRPr lang="en-GB" sz="1400" kern="1200" dirty="0">
              <a:solidFill>
                <a:schemeClr val="tx1"/>
              </a:solidFill>
              <a:cs typeface="Arial"/>
            </a:endParaRPr>
          </a:p>
        </p:txBody>
      </p:sp>
      <p:sp>
        <p:nvSpPr>
          <p:cNvPr id="22" name="Freeform: Shape 21">
            <a:extLst>
              <a:ext uri="{FF2B5EF4-FFF2-40B4-BE49-F238E27FC236}">
                <a16:creationId xmlns:a16="http://schemas.microsoft.com/office/drawing/2014/main" id="{76567FEB-07A4-8666-7E43-FD04A16AB06A}"/>
              </a:ext>
            </a:extLst>
          </p:cNvPr>
          <p:cNvSpPr/>
          <p:nvPr/>
        </p:nvSpPr>
        <p:spPr>
          <a:xfrm flipH="1">
            <a:off x="4965700" y="4132233"/>
            <a:ext cx="3835400" cy="457200"/>
          </a:xfrm>
          <a:prstGeom prst="homePlate">
            <a:avLst>
              <a:gd name="adj" fmla="val 28868"/>
            </a:avLst>
          </a:prstGeom>
          <a:solidFill>
            <a:schemeClr val="accent4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180000" tIns="36000" rIns="36000" bIns="36000" numCol="1" spcCol="1270" anchor="ctr" anchorCtr="0">
            <a:noAutofit/>
          </a:bodyPr>
          <a:lstStyle/>
          <a:p>
            <a:pPr marL="0" lvl="0" indent="0" defTabSz="577850">
              <a:spcBef>
                <a:spcPct val="0"/>
              </a:spcBef>
              <a:spcAft>
                <a:spcPct val="35000"/>
              </a:spcAft>
              <a:buNone/>
            </a:pPr>
            <a:r>
              <a:rPr lang="en-GB" sz="1400" kern="1200" dirty="0">
                <a:solidFill>
                  <a:schemeClr val="tx1"/>
                </a:solidFill>
              </a:rPr>
              <a:t>Increase accessibility and impact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3D0C5599-9968-AA3A-7F85-4F79A3C652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7388" y="804863"/>
            <a:ext cx="8113712" cy="554037"/>
          </a:xfrm>
        </p:spPr>
        <p:txBody>
          <a:bodyPr/>
          <a:lstStyle/>
          <a:p>
            <a:r>
              <a:rPr lang="en-GB" dirty="0"/>
              <a:t>Objectives of the Candidate support programme (CSP)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98F23B5-667D-84CA-1B1A-3B2FF15090B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401101" y="481662"/>
            <a:ext cx="5400000" cy="167675"/>
          </a:xfrm>
        </p:spPr>
        <p:txBody>
          <a:bodyPr/>
          <a:lstStyle/>
          <a:p>
            <a:r>
              <a:rPr lang="en-US" dirty="0"/>
              <a:t>CANDIDATE SUPPORT PROGRAMME (CSP – EQE)</a:t>
            </a:r>
            <a:endParaRPr lang="en-GB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5C835420-F92D-686A-1CCA-03C7031222C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261101" y="4640518"/>
            <a:ext cx="540000" cy="123111"/>
          </a:xfrm>
        </p:spPr>
        <p:txBody>
          <a:bodyPr/>
          <a:lstStyle/>
          <a:p>
            <a:fld id="{B6EAC15D-B94B-4B86-ABD3-3EDECDB333F5}" type="slidenum">
              <a:rPr lang="en-GB" smtClean="0"/>
              <a:pPr/>
              <a:t>2</a:t>
            </a:fld>
            <a:endParaRPr lang="en-GB" dirty="0"/>
          </a:p>
        </p:txBody>
      </p:sp>
      <p:grpSp>
        <p:nvGrpSpPr>
          <p:cNvPr id="106" name="Group 105">
            <a:extLst>
              <a:ext uri="{FF2B5EF4-FFF2-40B4-BE49-F238E27FC236}">
                <a16:creationId xmlns:a16="http://schemas.microsoft.com/office/drawing/2014/main" id="{98F2296E-8CF2-7C77-A2AB-89BC48691EDD}"/>
              </a:ext>
            </a:extLst>
          </p:cNvPr>
          <p:cNvGrpSpPr/>
          <p:nvPr/>
        </p:nvGrpSpPr>
        <p:grpSpPr>
          <a:xfrm>
            <a:off x="608732" y="2222376"/>
            <a:ext cx="4008565" cy="1620000"/>
            <a:chOff x="608732" y="2285927"/>
            <a:chExt cx="4008565" cy="1620000"/>
          </a:xfrm>
        </p:grpSpPr>
        <p:sp>
          <p:nvSpPr>
            <p:cNvPr id="15" name="Content Placeholder 6">
              <a:extLst>
                <a:ext uri="{FF2B5EF4-FFF2-40B4-BE49-F238E27FC236}">
                  <a16:creationId xmlns:a16="http://schemas.microsoft.com/office/drawing/2014/main" id="{9D1197CB-A31A-6923-9D8A-FD2887BDED68}"/>
                </a:ext>
              </a:extLst>
            </p:cNvPr>
            <p:cNvSpPr txBox="1">
              <a:spLocks/>
            </p:cNvSpPr>
            <p:nvPr/>
          </p:nvSpPr>
          <p:spPr>
            <a:xfrm>
              <a:off x="684212" y="2398986"/>
              <a:ext cx="1096357" cy="523220"/>
            </a:xfrm>
            <a:prstGeom prst="rect">
              <a:avLst/>
            </a:prstGeom>
          </p:spPr>
          <p:txBody>
            <a:bodyPr vert="horz" wrap="square" lIns="72000" rIns="72000" anchor="ctr" anchorCtr="0">
              <a:spAutoFit/>
            </a:bodyPr>
            <a:lstStyle>
              <a:lvl1pPr marL="0" indent="0" algn="l" defTabSz="685800" rtl="0" eaLnBrk="1" latinLnBrk="0" hangingPunct="1">
                <a:lnSpc>
                  <a:spcPct val="120000"/>
                </a:lnSpc>
                <a:spcBef>
                  <a:spcPts val="800"/>
                </a:spcBef>
                <a:buFont typeface="Arial" panose="020B0604020202020204" pitchFamily="34" charset="0"/>
                <a:buNone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04000" indent="-180000" algn="l" defTabSz="685800" rtl="0" eaLnBrk="1" latinLnBrk="0" hangingPunct="1">
                <a:lnSpc>
                  <a:spcPct val="120000"/>
                </a:lnSpc>
                <a:spcBef>
                  <a:spcPts val="800"/>
                </a:spcBef>
                <a:buClr>
                  <a:schemeClr val="accent6"/>
                </a:buClr>
                <a:buSzPct val="100000"/>
                <a:buFont typeface="Wingdings" panose="05000000000000000000" pitchFamily="2" charset="2"/>
                <a:buChar char="n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4000" indent="-180000" algn="l" defTabSz="685800" rtl="0" eaLnBrk="1" latinLnBrk="0" hangingPunct="1">
                <a:lnSpc>
                  <a:spcPct val="120000"/>
                </a:lnSpc>
                <a:spcBef>
                  <a:spcPts val="800"/>
                </a:spcBef>
                <a:buClr>
                  <a:schemeClr val="accent6"/>
                </a:buClr>
                <a:buSzPct val="100000"/>
                <a:buFont typeface="Wingdings" panose="05000000000000000000" pitchFamily="2" charset="2"/>
                <a:buChar char="n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864000" indent="-180000" algn="l" defTabSz="685800" rtl="0" eaLnBrk="1" latinLnBrk="0" hangingPunct="1">
                <a:lnSpc>
                  <a:spcPct val="120000"/>
                </a:lnSpc>
                <a:spcBef>
                  <a:spcPts val="800"/>
                </a:spcBef>
                <a:buClr>
                  <a:schemeClr val="accent6"/>
                </a:buClr>
                <a:buSzPct val="100000"/>
                <a:buFont typeface="Wingdings" panose="05000000000000000000" pitchFamily="2" charset="2"/>
                <a:buChar char="n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044000" indent="-180000" algn="l" defTabSz="685800" rtl="0" eaLnBrk="1" latinLnBrk="0" hangingPunct="1">
                <a:lnSpc>
                  <a:spcPct val="120000"/>
                </a:lnSpc>
                <a:spcBef>
                  <a:spcPts val="800"/>
                </a:spcBef>
                <a:buClr>
                  <a:schemeClr val="accent6"/>
                </a:buClr>
                <a:buSzPct val="100000"/>
                <a:buFont typeface="Wingdings" panose="05000000000000000000" pitchFamily="2" charset="2"/>
                <a:buChar char="n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885950" indent="-171450" algn="l" defTabSz="68580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228850" indent="-171450" algn="l" defTabSz="68580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571750" indent="-171450" algn="l" defTabSz="68580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914650" indent="-171450" algn="l" defTabSz="68580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lnSpc>
                  <a:spcPct val="100000"/>
                </a:lnSpc>
                <a:spcBef>
                  <a:spcPts val="0"/>
                </a:spcBef>
              </a:pPr>
              <a:r>
                <a:rPr lang="en-GB" dirty="0"/>
                <a:t>Uphold</a:t>
              </a:r>
              <a:br>
                <a:rPr lang="en-GB" dirty="0"/>
              </a:br>
              <a:r>
                <a:rPr lang="en-GB" dirty="0"/>
                <a:t>quality</a:t>
              </a:r>
            </a:p>
          </p:txBody>
        </p:sp>
        <p:sp>
          <p:nvSpPr>
            <p:cNvPr id="17" name="Content Placeholder 6">
              <a:extLst>
                <a:ext uri="{FF2B5EF4-FFF2-40B4-BE49-F238E27FC236}">
                  <a16:creationId xmlns:a16="http://schemas.microsoft.com/office/drawing/2014/main" id="{7B4870C4-F95D-913B-D627-4CF9598486CE}"/>
                </a:ext>
              </a:extLst>
            </p:cNvPr>
            <p:cNvSpPr txBox="1">
              <a:spLocks/>
            </p:cNvSpPr>
            <p:nvPr/>
          </p:nvSpPr>
          <p:spPr>
            <a:xfrm>
              <a:off x="3393297" y="2445151"/>
              <a:ext cx="1224000" cy="430887"/>
            </a:xfrm>
            <a:prstGeom prst="rect">
              <a:avLst/>
            </a:prstGeom>
          </p:spPr>
          <p:txBody>
            <a:bodyPr vert="horz" wrap="square" lIns="72000" tIns="0" rIns="72000" bIns="0" rtlCol="0" anchor="ctr" anchorCtr="0">
              <a:spAutoFit/>
            </a:bodyPr>
            <a:lstStyle>
              <a:lvl1pPr marL="0" indent="0" algn="l" defTabSz="685800" rtl="0" eaLnBrk="1" latinLnBrk="0" hangingPunct="1">
                <a:lnSpc>
                  <a:spcPct val="120000"/>
                </a:lnSpc>
                <a:spcBef>
                  <a:spcPts val="800"/>
                </a:spcBef>
                <a:buFont typeface="Arial" panose="020B0604020202020204" pitchFamily="34" charset="0"/>
                <a:buNone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04000" indent="-180000" algn="l" defTabSz="685800" rtl="0" eaLnBrk="1" latinLnBrk="0" hangingPunct="1">
                <a:lnSpc>
                  <a:spcPct val="120000"/>
                </a:lnSpc>
                <a:spcBef>
                  <a:spcPts val="800"/>
                </a:spcBef>
                <a:buClr>
                  <a:schemeClr val="accent6"/>
                </a:buClr>
                <a:buSzPct val="100000"/>
                <a:buFont typeface="Wingdings" panose="05000000000000000000" pitchFamily="2" charset="2"/>
                <a:buChar char="n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4000" indent="-180000" algn="l" defTabSz="685800" rtl="0" eaLnBrk="1" latinLnBrk="0" hangingPunct="1">
                <a:lnSpc>
                  <a:spcPct val="120000"/>
                </a:lnSpc>
                <a:spcBef>
                  <a:spcPts val="800"/>
                </a:spcBef>
                <a:buClr>
                  <a:schemeClr val="accent6"/>
                </a:buClr>
                <a:buSzPct val="100000"/>
                <a:buFont typeface="Wingdings" panose="05000000000000000000" pitchFamily="2" charset="2"/>
                <a:buChar char="n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864000" indent="-180000" algn="l" defTabSz="685800" rtl="0" eaLnBrk="1" latinLnBrk="0" hangingPunct="1">
                <a:lnSpc>
                  <a:spcPct val="120000"/>
                </a:lnSpc>
                <a:spcBef>
                  <a:spcPts val="800"/>
                </a:spcBef>
                <a:buClr>
                  <a:schemeClr val="accent6"/>
                </a:buClr>
                <a:buSzPct val="100000"/>
                <a:buFont typeface="Wingdings" panose="05000000000000000000" pitchFamily="2" charset="2"/>
                <a:buChar char="n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044000" indent="-180000" algn="l" defTabSz="685800" rtl="0" eaLnBrk="1" latinLnBrk="0" hangingPunct="1">
                <a:lnSpc>
                  <a:spcPct val="120000"/>
                </a:lnSpc>
                <a:spcBef>
                  <a:spcPts val="800"/>
                </a:spcBef>
                <a:buClr>
                  <a:schemeClr val="accent6"/>
                </a:buClr>
                <a:buSzPct val="100000"/>
                <a:buFont typeface="Wingdings" panose="05000000000000000000" pitchFamily="2" charset="2"/>
                <a:buChar char="n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885950" indent="-171450" algn="l" defTabSz="68580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228850" indent="-171450" algn="l" defTabSz="68580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571750" indent="-171450" algn="l" defTabSz="68580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914650" indent="-171450" algn="l" defTabSz="68580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ct val="100000"/>
                </a:lnSpc>
                <a:spcBef>
                  <a:spcPts val="0"/>
                </a:spcBef>
              </a:pPr>
              <a:r>
                <a:rPr lang="en-GB" dirty="0"/>
                <a:t>Increase</a:t>
              </a:r>
              <a:br>
                <a:rPr lang="en-GB" dirty="0"/>
              </a:br>
              <a:r>
                <a:rPr lang="en-GB" dirty="0"/>
                <a:t>gender parity</a:t>
              </a:r>
            </a:p>
          </p:txBody>
        </p:sp>
        <p:sp>
          <p:nvSpPr>
            <p:cNvPr id="19" name="Content Placeholder 6">
              <a:extLst>
                <a:ext uri="{FF2B5EF4-FFF2-40B4-BE49-F238E27FC236}">
                  <a16:creationId xmlns:a16="http://schemas.microsoft.com/office/drawing/2014/main" id="{BCC90406-46E5-F2DD-294B-66CC7B4326D8}"/>
                </a:ext>
              </a:extLst>
            </p:cNvPr>
            <p:cNvSpPr txBox="1">
              <a:spLocks/>
            </p:cNvSpPr>
            <p:nvPr/>
          </p:nvSpPr>
          <p:spPr>
            <a:xfrm>
              <a:off x="608732" y="3235050"/>
              <a:ext cx="1171839" cy="646331"/>
            </a:xfrm>
            <a:prstGeom prst="rect">
              <a:avLst/>
            </a:prstGeom>
          </p:spPr>
          <p:txBody>
            <a:bodyPr vert="horz" wrap="square" lIns="0" tIns="0" rIns="72000" bIns="0" rtlCol="0" anchor="ctr" anchorCtr="0">
              <a:spAutoFit/>
            </a:bodyPr>
            <a:lstStyle>
              <a:lvl1pPr marL="0" indent="0" algn="l" defTabSz="685800" rtl="0" eaLnBrk="1" latinLnBrk="0" hangingPunct="1">
                <a:lnSpc>
                  <a:spcPct val="120000"/>
                </a:lnSpc>
                <a:spcBef>
                  <a:spcPts val="800"/>
                </a:spcBef>
                <a:buFont typeface="Arial" panose="020B0604020202020204" pitchFamily="34" charset="0"/>
                <a:buNone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04000" indent="-180000" algn="l" defTabSz="685800" rtl="0" eaLnBrk="1" latinLnBrk="0" hangingPunct="1">
                <a:lnSpc>
                  <a:spcPct val="120000"/>
                </a:lnSpc>
                <a:spcBef>
                  <a:spcPts val="800"/>
                </a:spcBef>
                <a:buClr>
                  <a:schemeClr val="accent6"/>
                </a:buClr>
                <a:buSzPct val="100000"/>
                <a:buFont typeface="Wingdings" panose="05000000000000000000" pitchFamily="2" charset="2"/>
                <a:buChar char="n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4000" indent="-180000" algn="l" defTabSz="685800" rtl="0" eaLnBrk="1" latinLnBrk="0" hangingPunct="1">
                <a:lnSpc>
                  <a:spcPct val="120000"/>
                </a:lnSpc>
                <a:spcBef>
                  <a:spcPts val="800"/>
                </a:spcBef>
                <a:buClr>
                  <a:schemeClr val="accent6"/>
                </a:buClr>
                <a:buSzPct val="100000"/>
                <a:buFont typeface="Wingdings" panose="05000000000000000000" pitchFamily="2" charset="2"/>
                <a:buChar char="n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864000" indent="-180000" algn="l" defTabSz="685800" rtl="0" eaLnBrk="1" latinLnBrk="0" hangingPunct="1">
                <a:lnSpc>
                  <a:spcPct val="120000"/>
                </a:lnSpc>
                <a:spcBef>
                  <a:spcPts val="800"/>
                </a:spcBef>
                <a:buClr>
                  <a:schemeClr val="accent6"/>
                </a:buClr>
                <a:buSzPct val="100000"/>
                <a:buFont typeface="Wingdings" panose="05000000000000000000" pitchFamily="2" charset="2"/>
                <a:buChar char="n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044000" indent="-180000" algn="l" defTabSz="685800" rtl="0" eaLnBrk="1" latinLnBrk="0" hangingPunct="1">
                <a:lnSpc>
                  <a:spcPct val="120000"/>
                </a:lnSpc>
                <a:spcBef>
                  <a:spcPts val="800"/>
                </a:spcBef>
                <a:buClr>
                  <a:schemeClr val="accent6"/>
                </a:buClr>
                <a:buSzPct val="100000"/>
                <a:buFont typeface="Wingdings" panose="05000000000000000000" pitchFamily="2" charset="2"/>
                <a:buChar char="n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885950" indent="-171450" algn="l" defTabSz="68580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228850" indent="-171450" algn="l" defTabSz="68580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571750" indent="-171450" algn="l" defTabSz="68580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914650" indent="-171450" algn="l" defTabSz="68580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lnSpc>
                  <a:spcPct val="100000"/>
                </a:lnSpc>
                <a:spcBef>
                  <a:spcPts val="0"/>
                </a:spcBef>
              </a:pPr>
              <a:r>
                <a:rPr lang="en-GB" dirty="0"/>
                <a:t>Foster</a:t>
              </a:r>
              <a:br>
                <a:rPr lang="en-GB" dirty="0"/>
              </a:br>
              <a:r>
                <a:rPr lang="en-GB" dirty="0"/>
                <a:t>community</a:t>
              </a:r>
              <a:br>
                <a:rPr lang="en-GB" dirty="0"/>
              </a:br>
              <a:r>
                <a:rPr lang="en-GB" dirty="0"/>
                <a:t>development</a:t>
              </a:r>
            </a:p>
          </p:txBody>
        </p:sp>
        <p:sp>
          <p:nvSpPr>
            <p:cNvPr id="21" name="Content Placeholder 6">
              <a:extLst>
                <a:ext uri="{FF2B5EF4-FFF2-40B4-BE49-F238E27FC236}">
                  <a16:creationId xmlns:a16="http://schemas.microsoft.com/office/drawing/2014/main" id="{83066ADD-3418-99E9-1DA1-A40A7EB9EB8B}"/>
                </a:ext>
              </a:extLst>
            </p:cNvPr>
            <p:cNvSpPr txBox="1">
              <a:spLocks/>
            </p:cNvSpPr>
            <p:nvPr/>
          </p:nvSpPr>
          <p:spPr>
            <a:xfrm>
              <a:off x="3393297" y="3208094"/>
              <a:ext cx="1224000" cy="646331"/>
            </a:xfrm>
            <a:prstGeom prst="rect">
              <a:avLst/>
            </a:prstGeom>
          </p:spPr>
          <p:txBody>
            <a:bodyPr vert="horz" wrap="square" lIns="72000" tIns="0" rIns="0" bIns="0" rtlCol="0" anchor="ctr" anchorCtr="0">
              <a:spAutoFit/>
            </a:bodyPr>
            <a:lstStyle>
              <a:lvl1pPr marL="0" indent="0" algn="l" defTabSz="685800" rtl="0" eaLnBrk="1" latinLnBrk="0" hangingPunct="1">
                <a:lnSpc>
                  <a:spcPct val="120000"/>
                </a:lnSpc>
                <a:spcBef>
                  <a:spcPts val="800"/>
                </a:spcBef>
                <a:buFont typeface="Arial" panose="020B0604020202020204" pitchFamily="34" charset="0"/>
                <a:buNone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04000" indent="-180000" algn="l" defTabSz="685800" rtl="0" eaLnBrk="1" latinLnBrk="0" hangingPunct="1">
                <a:lnSpc>
                  <a:spcPct val="120000"/>
                </a:lnSpc>
                <a:spcBef>
                  <a:spcPts val="800"/>
                </a:spcBef>
                <a:buClr>
                  <a:schemeClr val="accent6"/>
                </a:buClr>
                <a:buSzPct val="100000"/>
                <a:buFont typeface="Wingdings" panose="05000000000000000000" pitchFamily="2" charset="2"/>
                <a:buChar char="n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4000" indent="-180000" algn="l" defTabSz="685800" rtl="0" eaLnBrk="1" latinLnBrk="0" hangingPunct="1">
                <a:lnSpc>
                  <a:spcPct val="120000"/>
                </a:lnSpc>
                <a:spcBef>
                  <a:spcPts val="800"/>
                </a:spcBef>
                <a:buClr>
                  <a:schemeClr val="accent6"/>
                </a:buClr>
                <a:buSzPct val="100000"/>
                <a:buFont typeface="Wingdings" panose="05000000000000000000" pitchFamily="2" charset="2"/>
                <a:buChar char="n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864000" indent="-180000" algn="l" defTabSz="685800" rtl="0" eaLnBrk="1" latinLnBrk="0" hangingPunct="1">
                <a:lnSpc>
                  <a:spcPct val="120000"/>
                </a:lnSpc>
                <a:spcBef>
                  <a:spcPts val="800"/>
                </a:spcBef>
                <a:buClr>
                  <a:schemeClr val="accent6"/>
                </a:buClr>
                <a:buSzPct val="100000"/>
                <a:buFont typeface="Wingdings" panose="05000000000000000000" pitchFamily="2" charset="2"/>
                <a:buChar char="n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044000" indent="-180000" algn="l" defTabSz="685800" rtl="0" eaLnBrk="1" latinLnBrk="0" hangingPunct="1">
                <a:lnSpc>
                  <a:spcPct val="120000"/>
                </a:lnSpc>
                <a:spcBef>
                  <a:spcPts val="800"/>
                </a:spcBef>
                <a:buClr>
                  <a:schemeClr val="accent6"/>
                </a:buClr>
                <a:buSzPct val="100000"/>
                <a:buFont typeface="Wingdings" panose="05000000000000000000" pitchFamily="2" charset="2"/>
                <a:buChar char="n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885950" indent="-171450" algn="l" defTabSz="68580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228850" indent="-171450" algn="l" defTabSz="68580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571750" indent="-171450" algn="l" defTabSz="68580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914650" indent="-171450" algn="l" defTabSz="68580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ct val="100000"/>
                </a:lnSpc>
                <a:spcBef>
                  <a:spcPts val="0"/>
                </a:spcBef>
              </a:pPr>
              <a:r>
                <a:rPr lang="en-GB" dirty="0"/>
                <a:t>Reinforce the</a:t>
              </a:r>
              <a:br>
                <a:rPr lang="en-GB" dirty="0"/>
              </a:br>
              <a:r>
                <a:rPr lang="en-GB" dirty="0"/>
                <a:t>presence of </a:t>
              </a:r>
              <a:br>
                <a:rPr lang="en-GB" dirty="0"/>
              </a:br>
              <a:r>
                <a:rPr lang="en-GB" dirty="0"/>
                <a:t>the profession</a:t>
              </a:r>
            </a:p>
          </p:txBody>
        </p:sp>
        <p:sp>
          <p:nvSpPr>
            <p:cNvPr id="2" name="Träne 7">
              <a:extLst>
                <a:ext uri="{FF2B5EF4-FFF2-40B4-BE49-F238E27FC236}">
                  <a16:creationId xmlns:a16="http://schemas.microsoft.com/office/drawing/2014/main" id="{D6C28D05-FAF1-B567-48C1-E97B4A8D3511}"/>
                </a:ext>
              </a:extLst>
            </p:cNvPr>
            <p:cNvSpPr/>
            <p:nvPr/>
          </p:nvSpPr>
          <p:spPr>
            <a:xfrm>
              <a:off x="1778817" y="3156591"/>
              <a:ext cx="749337" cy="749336"/>
            </a:xfrm>
            <a:prstGeom prst="teardrop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6" name="Träne 9">
              <a:extLst>
                <a:ext uri="{FF2B5EF4-FFF2-40B4-BE49-F238E27FC236}">
                  <a16:creationId xmlns:a16="http://schemas.microsoft.com/office/drawing/2014/main" id="{81601769-8F03-A792-AD57-A16A6C27B53B}"/>
                </a:ext>
              </a:extLst>
            </p:cNvPr>
            <p:cNvSpPr/>
            <p:nvPr/>
          </p:nvSpPr>
          <p:spPr>
            <a:xfrm flipH="1">
              <a:off x="2643961" y="3156591"/>
              <a:ext cx="749337" cy="749336"/>
            </a:xfrm>
            <a:prstGeom prst="teardrop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7" name="Träne 10">
              <a:extLst>
                <a:ext uri="{FF2B5EF4-FFF2-40B4-BE49-F238E27FC236}">
                  <a16:creationId xmlns:a16="http://schemas.microsoft.com/office/drawing/2014/main" id="{2FC95A4F-8A68-030A-EECC-5988A7B5E26A}"/>
                </a:ext>
              </a:extLst>
            </p:cNvPr>
            <p:cNvSpPr/>
            <p:nvPr/>
          </p:nvSpPr>
          <p:spPr>
            <a:xfrm flipV="1">
              <a:off x="1778817" y="2285927"/>
              <a:ext cx="749337" cy="749336"/>
            </a:xfrm>
            <a:prstGeom prst="teardrop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13" name="Träne 11">
              <a:extLst>
                <a:ext uri="{FF2B5EF4-FFF2-40B4-BE49-F238E27FC236}">
                  <a16:creationId xmlns:a16="http://schemas.microsoft.com/office/drawing/2014/main" id="{8D24ECCA-2542-9922-5499-C8CA699FC0C8}"/>
                </a:ext>
              </a:extLst>
            </p:cNvPr>
            <p:cNvSpPr/>
            <p:nvPr/>
          </p:nvSpPr>
          <p:spPr>
            <a:xfrm flipH="1" flipV="1">
              <a:off x="2643961" y="2285927"/>
              <a:ext cx="749337" cy="749336"/>
            </a:xfrm>
            <a:prstGeom prst="teardrop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grpSp>
          <p:nvGrpSpPr>
            <p:cNvPr id="23" name="Gruppieren 17">
              <a:extLst>
                <a:ext uri="{FF2B5EF4-FFF2-40B4-BE49-F238E27FC236}">
                  <a16:creationId xmlns:a16="http://schemas.microsoft.com/office/drawing/2014/main" id="{0C224322-7179-2228-EB97-6EE52AF64281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2785251" y="3293557"/>
              <a:ext cx="466755" cy="475405"/>
              <a:chOff x="-1395023" y="1474788"/>
              <a:chExt cx="1168155" cy="1189803"/>
            </a:xfrm>
          </p:grpSpPr>
          <p:grpSp>
            <p:nvGrpSpPr>
              <p:cNvPr id="24" name="Gruppieren 18">
                <a:extLst>
                  <a:ext uri="{FF2B5EF4-FFF2-40B4-BE49-F238E27FC236}">
                    <a16:creationId xmlns:a16="http://schemas.microsoft.com/office/drawing/2014/main" id="{F64D212A-0940-7536-ED39-7E6A42872E18}"/>
                  </a:ext>
                </a:extLst>
              </p:cNvPr>
              <p:cNvGrpSpPr/>
              <p:nvPr/>
            </p:nvGrpSpPr>
            <p:grpSpPr>
              <a:xfrm>
                <a:off x="-734552" y="2156907"/>
                <a:ext cx="507684" cy="507684"/>
                <a:chOff x="6019800" y="6730834"/>
                <a:chExt cx="425450" cy="425450"/>
              </a:xfrm>
            </p:grpSpPr>
            <p:sp>
              <p:nvSpPr>
                <p:cNvPr id="36" name="Freeform 648">
                  <a:extLst>
                    <a:ext uri="{FF2B5EF4-FFF2-40B4-BE49-F238E27FC236}">
                      <a16:creationId xmlns:a16="http://schemas.microsoft.com/office/drawing/2014/main" id="{0E3EA695-1F4F-1403-586F-09A1E55D71B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019800" y="6730834"/>
                  <a:ext cx="425450" cy="425450"/>
                </a:xfrm>
                <a:custGeom>
                  <a:avLst/>
                  <a:gdLst>
                    <a:gd name="T0" fmla="*/ 41 w 134"/>
                    <a:gd name="T1" fmla="*/ 109 h 134"/>
                    <a:gd name="T2" fmla="*/ 26 w 134"/>
                    <a:gd name="T3" fmla="*/ 120 h 134"/>
                    <a:gd name="T4" fmla="*/ 13 w 134"/>
                    <a:gd name="T5" fmla="*/ 108 h 134"/>
                    <a:gd name="T6" fmla="*/ 24 w 134"/>
                    <a:gd name="T7" fmla="*/ 93 h 134"/>
                    <a:gd name="T8" fmla="*/ 18 w 134"/>
                    <a:gd name="T9" fmla="*/ 79 h 134"/>
                    <a:gd name="T10" fmla="*/ 0 w 134"/>
                    <a:gd name="T11" fmla="*/ 76 h 134"/>
                    <a:gd name="T12" fmla="*/ 0 w 134"/>
                    <a:gd name="T13" fmla="*/ 58 h 134"/>
                    <a:gd name="T14" fmla="*/ 18 w 134"/>
                    <a:gd name="T15" fmla="*/ 55 h 134"/>
                    <a:gd name="T16" fmla="*/ 24 w 134"/>
                    <a:gd name="T17" fmla="*/ 41 h 134"/>
                    <a:gd name="T18" fmla="*/ 13 w 134"/>
                    <a:gd name="T19" fmla="*/ 26 h 134"/>
                    <a:gd name="T20" fmla="*/ 26 w 134"/>
                    <a:gd name="T21" fmla="*/ 14 h 134"/>
                    <a:gd name="T22" fmla="*/ 40 w 134"/>
                    <a:gd name="T23" fmla="*/ 24 h 134"/>
                    <a:gd name="T24" fmla="*/ 55 w 134"/>
                    <a:gd name="T25" fmla="*/ 18 h 134"/>
                    <a:gd name="T26" fmla="*/ 57 w 134"/>
                    <a:gd name="T27" fmla="*/ 0 h 134"/>
                    <a:gd name="T28" fmla="*/ 76 w 134"/>
                    <a:gd name="T29" fmla="*/ 0 h 134"/>
                    <a:gd name="T30" fmla="*/ 78 w 134"/>
                    <a:gd name="T31" fmla="*/ 18 h 134"/>
                    <a:gd name="T32" fmla="*/ 93 w 134"/>
                    <a:gd name="T33" fmla="*/ 24 h 134"/>
                    <a:gd name="T34" fmla="*/ 108 w 134"/>
                    <a:gd name="T35" fmla="*/ 13 h 134"/>
                    <a:gd name="T36" fmla="*/ 120 w 134"/>
                    <a:gd name="T37" fmla="*/ 26 h 134"/>
                    <a:gd name="T38" fmla="*/ 109 w 134"/>
                    <a:gd name="T39" fmla="*/ 41 h 134"/>
                    <a:gd name="T40" fmla="*/ 115 w 134"/>
                    <a:gd name="T41" fmla="*/ 55 h 134"/>
                    <a:gd name="T42" fmla="*/ 134 w 134"/>
                    <a:gd name="T43" fmla="*/ 58 h 134"/>
                    <a:gd name="T44" fmla="*/ 134 w 134"/>
                    <a:gd name="T45" fmla="*/ 76 h 134"/>
                    <a:gd name="T46" fmla="*/ 115 w 134"/>
                    <a:gd name="T47" fmla="*/ 78 h 134"/>
                    <a:gd name="T48" fmla="*/ 109 w 134"/>
                    <a:gd name="T49" fmla="*/ 93 h 134"/>
                    <a:gd name="T50" fmla="*/ 120 w 134"/>
                    <a:gd name="T51" fmla="*/ 108 h 134"/>
                    <a:gd name="T52" fmla="*/ 108 w 134"/>
                    <a:gd name="T53" fmla="*/ 120 h 134"/>
                    <a:gd name="T54" fmla="*/ 93 w 134"/>
                    <a:gd name="T55" fmla="*/ 109 h 134"/>
                    <a:gd name="T56" fmla="*/ 78 w 134"/>
                    <a:gd name="T57" fmla="*/ 115 h 134"/>
                    <a:gd name="T58" fmla="*/ 78 w 134"/>
                    <a:gd name="T59" fmla="*/ 115 h 134"/>
                    <a:gd name="T60" fmla="*/ 78 w 134"/>
                    <a:gd name="T61" fmla="*/ 115 h 134"/>
                    <a:gd name="T62" fmla="*/ 78 w 134"/>
                    <a:gd name="T63" fmla="*/ 115 h 134"/>
                    <a:gd name="T64" fmla="*/ 75 w 134"/>
                    <a:gd name="T65" fmla="*/ 134 h 134"/>
                    <a:gd name="T66" fmla="*/ 57 w 134"/>
                    <a:gd name="T67" fmla="*/ 134 h 134"/>
                    <a:gd name="T68" fmla="*/ 55 w 134"/>
                    <a:gd name="T69" fmla="*/ 115 h 134"/>
                    <a:gd name="T70" fmla="*/ 41 w 134"/>
                    <a:gd name="T71" fmla="*/ 109 h 13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</a:cxnLst>
                  <a:rect l="0" t="0" r="r" b="b"/>
                  <a:pathLst>
                    <a:path w="134" h="134">
                      <a:moveTo>
                        <a:pt x="41" y="109"/>
                      </a:moveTo>
                      <a:cubicBezTo>
                        <a:pt x="26" y="120"/>
                        <a:pt x="26" y="120"/>
                        <a:pt x="26" y="120"/>
                      </a:cubicBezTo>
                      <a:cubicBezTo>
                        <a:pt x="13" y="108"/>
                        <a:pt x="13" y="108"/>
                        <a:pt x="13" y="108"/>
                      </a:cubicBezTo>
                      <a:cubicBezTo>
                        <a:pt x="24" y="93"/>
                        <a:pt x="24" y="93"/>
                        <a:pt x="24" y="93"/>
                      </a:cubicBezTo>
                      <a:cubicBezTo>
                        <a:pt x="21" y="89"/>
                        <a:pt x="19" y="84"/>
                        <a:pt x="18" y="79"/>
                      </a:cubicBezTo>
                      <a:cubicBezTo>
                        <a:pt x="0" y="76"/>
                        <a:pt x="0" y="76"/>
                        <a:pt x="0" y="76"/>
                      </a:cubicBezTo>
                      <a:cubicBezTo>
                        <a:pt x="0" y="58"/>
                        <a:pt x="0" y="58"/>
                        <a:pt x="0" y="58"/>
                      </a:cubicBezTo>
                      <a:cubicBezTo>
                        <a:pt x="18" y="55"/>
                        <a:pt x="18" y="55"/>
                        <a:pt x="18" y="55"/>
                      </a:cubicBezTo>
                      <a:cubicBezTo>
                        <a:pt x="19" y="50"/>
                        <a:pt x="21" y="45"/>
                        <a:pt x="24" y="41"/>
                      </a:cubicBezTo>
                      <a:cubicBezTo>
                        <a:pt x="13" y="26"/>
                        <a:pt x="13" y="26"/>
                        <a:pt x="13" y="26"/>
                      </a:cubicBezTo>
                      <a:cubicBezTo>
                        <a:pt x="26" y="14"/>
                        <a:pt x="26" y="14"/>
                        <a:pt x="26" y="14"/>
                      </a:cubicBezTo>
                      <a:cubicBezTo>
                        <a:pt x="40" y="24"/>
                        <a:pt x="40" y="24"/>
                        <a:pt x="40" y="24"/>
                      </a:cubicBezTo>
                      <a:cubicBezTo>
                        <a:pt x="45" y="22"/>
                        <a:pt x="50" y="20"/>
                        <a:pt x="55" y="18"/>
                      </a:cubicBezTo>
                      <a:cubicBezTo>
                        <a:pt x="57" y="0"/>
                        <a:pt x="57" y="0"/>
                        <a:pt x="57" y="0"/>
                      </a:cubicBezTo>
                      <a:cubicBezTo>
                        <a:pt x="76" y="0"/>
                        <a:pt x="76" y="0"/>
                        <a:pt x="76" y="0"/>
                      </a:cubicBezTo>
                      <a:cubicBezTo>
                        <a:pt x="78" y="18"/>
                        <a:pt x="78" y="18"/>
                        <a:pt x="78" y="18"/>
                      </a:cubicBezTo>
                      <a:cubicBezTo>
                        <a:pt x="83" y="20"/>
                        <a:pt x="88" y="22"/>
                        <a:pt x="93" y="24"/>
                      </a:cubicBezTo>
                      <a:cubicBezTo>
                        <a:pt x="108" y="13"/>
                        <a:pt x="108" y="13"/>
                        <a:pt x="108" y="13"/>
                      </a:cubicBezTo>
                      <a:cubicBezTo>
                        <a:pt x="120" y="26"/>
                        <a:pt x="120" y="26"/>
                        <a:pt x="120" y="26"/>
                      </a:cubicBezTo>
                      <a:cubicBezTo>
                        <a:pt x="109" y="41"/>
                        <a:pt x="109" y="41"/>
                        <a:pt x="109" y="41"/>
                      </a:cubicBezTo>
                      <a:cubicBezTo>
                        <a:pt x="112" y="45"/>
                        <a:pt x="114" y="50"/>
                        <a:pt x="115" y="55"/>
                      </a:cubicBezTo>
                      <a:cubicBezTo>
                        <a:pt x="134" y="58"/>
                        <a:pt x="134" y="58"/>
                        <a:pt x="134" y="58"/>
                      </a:cubicBezTo>
                      <a:cubicBezTo>
                        <a:pt x="134" y="76"/>
                        <a:pt x="134" y="76"/>
                        <a:pt x="134" y="76"/>
                      </a:cubicBezTo>
                      <a:cubicBezTo>
                        <a:pt x="115" y="78"/>
                        <a:pt x="115" y="78"/>
                        <a:pt x="115" y="78"/>
                      </a:cubicBezTo>
                      <a:cubicBezTo>
                        <a:pt x="114" y="84"/>
                        <a:pt x="112" y="88"/>
                        <a:pt x="109" y="93"/>
                      </a:cubicBezTo>
                      <a:cubicBezTo>
                        <a:pt x="120" y="108"/>
                        <a:pt x="120" y="108"/>
                        <a:pt x="120" y="108"/>
                      </a:cubicBezTo>
                      <a:cubicBezTo>
                        <a:pt x="108" y="120"/>
                        <a:pt x="108" y="120"/>
                        <a:pt x="108" y="120"/>
                      </a:cubicBezTo>
                      <a:cubicBezTo>
                        <a:pt x="93" y="109"/>
                        <a:pt x="93" y="109"/>
                        <a:pt x="93" y="109"/>
                      </a:cubicBezTo>
                      <a:cubicBezTo>
                        <a:pt x="88" y="112"/>
                        <a:pt x="83" y="114"/>
                        <a:pt x="78" y="115"/>
                      </a:cubicBezTo>
                      <a:cubicBezTo>
                        <a:pt x="78" y="115"/>
                        <a:pt x="78" y="115"/>
                        <a:pt x="78" y="115"/>
                      </a:cubicBezTo>
                      <a:cubicBezTo>
                        <a:pt x="78" y="115"/>
                        <a:pt x="78" y="115"/>
                        <a:pt x="78" y="115"/>
                      </a:cubicBezTo>
                      <a:cubicBezTo>
                        <a:pt x="78" y="115"/>
                        <a:pt x="78" y="115"/>
                        <a:pt x="78" y="115"/>
                      </a:cubicBezTo>
                      <a:cubicBezTo>
                        <a:pt x="75" y="134"/>
                        <a:pt x="75" y="134"/>
                        <a:pt x="75" y="134"/>
                      </a:cubicBezTo>
                      <a:cubicBezTo>
                        <a:pt x="57" y="134"/>
                        <a:pt x="57" y="134"/>
                        <a:pt x="57" y="134"/>
                      </a:cubicBezTo>
                      <a:cubicBezTo>
                        <a:pt x="55" y="115"/>
                        <a:pt x="55" y="115"/>
                        <a:pt x="55" y="115"/>
                      </a:cubicBezTo>
                      <a:cubicBezTo>
                        <a:pt x="50" y="114"/>
                        <a:pt x="45" y="112"/>
                        <a:pt x="41" y="109"/>
                      </a:cubicBezTo>
                    </a:path>
                  </a:pathLst>
                </a:custGeom>
                <a:noFill/>
                <a:ln w="15875" cap="flat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0" tIns="0" rIns="0" bIns="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kern="0" dirty="0">
                    <a:solidFill>
                      <a:srgbClr val="404955"/>
                    </a:solidFill>
                    <a:latin typeface="Arial"/>
                  </a:endParaRPr>
                </a:p>
              </p:txBody>
            </p:sp>
            <p:sp>
              <p:nvSpPr>
                <p:cNvPr id="37" name="Freeform 649">
                  <a:extLst>
                    <a:ext uri="{FF2B5EF4-FFF2-40B4-BE49-F238E27FC236}">
                      <a16:creationId xmlns:a16="http://schemas.microsoft.com/office/drawing/2014/main" id="{322030C3-CFBF-6FD9-0A31-EC87C630F3F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143625" y="6857834"/>
                  <a:ext cx="174625" cy="171450"/>
                </a:xfrm>
                <a:custGeom>
                  <a:avLst/>
                  <a:gdLst>
                    <a:gd name="T0" fmla="*/ 50 w 55"/>
                    <a:gd name="T1" fmla="*/ 37 h 54"/>
                    <a:gd name="T2" fmla="*/ 18 w 55"/>
                    <a:gd name="T3" fmla="*/ 49 h 54"/>
                    <a:gd name="T4" fmla="*/ 6 w 55"/>
                    <a:gd name="T5" fmla="*/ 17 h 54"/>
                    <a:gd name="T6" fmla="*/ 38 w 55"/>
                    <a:gd name="T7" fmla="*/ 5 h 54"/>
                    <a:gd name="T8" fmla="*/ 50 w 55"/>
                    <a:gd name="T9" fmla="*/ 37 h 5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55" h="54">
                      <a:moveTo>
                        <a:pt x="50" y="37"/>
                      </a:moveTo>
                      <a:cubicBezTo>
                        <a:pt x="44" y="49"/>
                        <a:pt x="30" y="54"/>
                        <a:pt x="18" y="49"/>
                      </a:cubicBezTo>
                      <a:cubicBezTo>
                        <a:pt x="6" y="43"/>
                        <a:pt x="0" y="29"/>
                        <a:pt x="6" y="17"/>
                      </a:cubicBezTo>
                      <a:cubicBezTo>
                        <a:pt x="11" y="5"/>
                        <a:pt x="25" y="0"/>
                        <a:pt x="38" y="5"/>
                      </a:cubicBezTo>
                      <a:cubicBezTo>
                        <a:pt x="50" y="10"/>
                        <a:pt x="55" y="25"/>
                        <a:pt x="50" y="37"/>
                      </a:cubicBezTo>
                      <a:close/>
                    </a:path>
                  </a:pathLst>
                </a:custGeom>
                <a:noFill/>
                <a:ln w="15875" cap="flat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0" tIns="0" rIns="0" bIns="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kern="0" dirty="0">
                    <a:solidFill>
                      <a:srgbClr val="404955"/>
                    </a:solidFill>
                    <a:latin typeface="Arial"/>
                  </a:endParaRPr>
                </a:p>
              </p:txBody>
            </p:sp>
          </p:grpSp>
          <p:grpSp>
            <p:nvGrpSpPr>
              <p:cNvPr id="25" name="Gruppieren 19">
                <a:extLst>
                  <a:ext uri="{FF2B5EF4-FFF2-40B4-BE49-F238E27FC236}">
                    <a16:creationId xmlns:a16="http://schemas.microsoft.com/office/drawing/2014/main" id="{E292F623-2E11-D4F0-3D43-A184F9792FD0}"/>
                  </a:ext>
                </a:extLst>
              </p:cNvPr>
              <p:cNvGrpSpPr/>
              <p:nvPr/>
            </p:nvGrpSpPr>
            <p:grpSpPr>
              <a:xfrm>
                <a:off x="-1395023" y="1474788"/>
                <a:ext cx="1097070" cy="835707"/>
                <a:chOff x="2372418" y="6278156"/>
                <a:chExt cx="436429" cy="332455"/>
              </a:xfrm>
            </p:grpSpPr>
            <p:grpSp>
              <p:nvGrpSpPr>
                <p:cNvPr id="26" name="Gruppieren 20">
                  <a:extLst>
                    <a:ext uri="{FF2B5EF4-FFF2-40B4-BE49-F238E27FC236}">
                      <a16:creationId xmlns:a16="http://schemas.microsoft.com/office/drawing/2014/main" id="{AED52D65-0C13-77A2-4B89-5D7B4ED18F76}"/>
                    </a:ext>
                  </a:extLst>
                </p:cNvPr>
                <p:cNvGrpSpPr/>
                <p:nvPr/>
              </p:nvGrpSpPr>
              <p:grpSpPr>
                <a:xfrm>
                  <a:off x="2372418" y="6355469"/>
                  <a:ext cx="236012" cy="255142"/>
                  <a:chOff x="3800021" y="2196690"/>
                  <a:chExt cx="1970092" cy="2129785"/>
                </a:xfrm>
              </p:grpSpPr>
              <p:sp>
                <p:nvSpPr>
                  <p:cNvPr id="32" name="Ellipse 23">
                    <a:extLst>
                      <a:ext uri="{FF2B5EF4-FFF2-40B4-BE49-F238E27FC236}">
                        <a16:creationId xmlns:a16="http://schemas.microsoft.com/office/drawing/2014/main" id="{4BFE1B44-2C20-64DD-1E10-97088EB6C520}"/>
                      </a:ext>
                    </a:extLst>
                  </p:cNvPr>
                  <p:cNvSpPr/>
                  <p:nvPr/>
                </p:nvSpPr>
                <p:spPr>
                  <a:xfrm>
                    <a:off x="4228033" y="2196690"/>
                    <a:ext cx="1114060" cy="1114059"/>
                  </a:xfrm>
                  <a:prstGeom prst="ellipse">
                    <a:avLst/>
                  </a:prstGeom>
                  <a:noFill/>
                  <a:ln w="15875" cap="flat" cmpd="sng" algn="ctr">
                    <a:solidFill>
                      <a:schemeClr val="bg1"/>
                    </a:solidFill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4572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Arial"/>
                    </a:endParaRPr>
                  </a:p>
                </p:txBody>
              </p:sp>
              <p:sp>
                <p:nvSpPr>
                  <p:cNvPr id="34" name="Freihandform: Form 24">
                    <a:extLst>
                      <a:ext uri="{FF2B5EF4-FFF2-40B4-BE49-F238E27FC236}">
                        <a16:creationId xmlns:a16="http://schemas.microsoft.com/office/drawing/2014/main" id="{5B4B1FE7-DB24-8897-634D-85BEE6855353}"/>
                      </a:ext>
                    </a:extLst>
                  </p:cNvPr>
                  <p:cNvSpPr/>
                  <p:nvPr/>
                </p:nvSpPr>
                <p:spPr>
                  <a:xfrm>
                    <a:off x="3800021" y="3533651"/>
                    <a:ext cx="1970092" cy="792824"/>
                  </a:xfrm>
                  <a:custGeom>
                    <a:avLst/>
                    <a:gdLst>
                      <a:gd name="connsiteX0" fmla="*/ 0 w 428625"/>
                      <a:gd name="connsiteY0" fmla="*/ 130969 h 135731"/>
                      <a:gd name="connsiteX1" fmla="*/ 216694 w 428625"/>
                      <a:gd name="connsiteY1" fmla="*/ 0 h 135731"/>
                      <a:gd name="connsiteX2" fmla="*/ 428625 w 428625"/>
                      <a:gd name="connsiteY2" fmla="*/ 95250 h 135731"/>
                      <a:gd name="connsiteX3" fmla="*/ 428625 w 428625"/>
                      <a:gd name="connsiteY3" fmla="*/ 135731 h 135731"/>
                      <a:gd name="connsiteX0" fmla="*/ 0 w 428625"/>
                      <a:gd name="connsiteY0" fmla="*/ 130969 h 135731"/>
                      <a:gd name="connsiteX1" fmla="*/ 37277 w 428625"/>
                      <a:gd name="connsiteY1" fmla="*/ 106660 h 135731"/>
                      <a:gd name="connsiteX2" fmla="*/ 216694 w 428625"/>
                      <a:gd name="connsiteY2" fmla="*/ 0 h 135731"/>
                      <a:gd name="connsiteX3" fmla="*/ 428625 w 428625"/>
                      <a:gd name="connsiteY3" fmla="*/ 95250 h 135731"/>
                      <a:gd name="connsiteX4" fmla="*/ 428625 w 428625"/>
                      <a:gd name="connsiteY4" fmla="*/ 135731 h 135731"/>
                      <a:gd name="connsiteX0" fmla="*/ 0 w 428625"/>
                      <a:gd name="connsiteY0" fmla="*/ 130969 h 135731"/>
                      <a:gd name="connsiteX1" fmla="*/ 342 w 428625"/>
                      <a:gd name="connsiteY1" fmla="*/ 94348 h 135731"/>
                      <a:gd name="connsiteX2" fmla="*/ 216694 w 428625"/>
                      <a:gd name="connsiteY2" fmla="*/ 0 h 135731"/>
                      <a:gd name="connsiteX3" fmla="*/ 428625 w 428625"/>
                      <a:gd name="connsiteY3" fmla="*/ 95250 h 135731"/>
                      <a:gd name="connsiteX4" fmla="*/ 428625 w 428625"/>
                      <a:gd name="connsiteY4" fmla="*/ 135731 h 135731"/>
                      <a:gd name="connsiteX0" fmla="*/ 0 w 428625"/>
                      <a:gd name="connsiteY0" fmla="*/ 130969 h 135731"/>
                      <a:gd name="connsiteX1" fmla="*/ 342 w 428625"/>
                      <a:gd name="connsiteY1" fmla="*/ 94348 h 135731"/>
                      <a:gd name="connsiteX2" fmla="*/ 216694 w 428625"/>
                      <a:gd name="connsiteY2" fmla="*/ 0 h 135731"/>
                      <a:gd name="connsiteX3" fmla="*/ 428625 w 428625"/>
                      <a:gd name="connsiteY3" fmla="*/ 95250 h 135731"/>
                      <a:gd name="connsiteX4" fmla="*/ 428625 w 428625"/>
                      <a:gd name="connsiteY4" fmla="*/ 135731 h 135731"/>
                      <a:gd name="connsiteX0" fmla="*/ 0 w 428625"/>
                      <a:gd name="connsiteY0" fmla="*/ 130969 h 135731"/>
                      <a:gd name="connsiteX1" fmla="*/ 342 w 428625"/>
                      <a:gd name="connsiteY1" fmla="*/ 94348 h 135731"/>
                      <a:gd name="connsiteX2" fmla="*/ 216694 w 428625"/>
                      <a:gd name="connsiteY2" fmla="*/ 0 h 135731"/>
                      <a:gd name="connsiteX3" fmla="*/ 428625 w 428625"/>
                      <a:gd name="connsiteY3" fmla="*/ 95250 h 135731"/>
                      <a:gd name="connsiteX4" fmla="*/ 428625 w 428625"/>
                      <a:gd name="connsiteY4" fmla="*/ 135731 h 135731"/>
                      <a:gd name="connsiteX0" fmla="*/ 0 w 428625"/>
                      <a:gd name="connsiteY0" fmla="*/ 40995 h 45757"/>
                      <a:gd name="connsiteX1" fmla="*/ 342 w 428625"/>
                      <a:gd name="connsiteY1" fmla="*/ 4374 h 45757"/>
                      <a:gd name="connsiteX2" fmla="*/ 428625 w 428625"/>
                      <a:gd name="connsiteY2" fmla="*/ 5276 h 45757"/>
                      <a:gd name="connsiteX3" fmla="*/ 428625 w 428625"/>
                      <a:gd name="connsiteY3" fmla="*/ 45757 h 45757"/>
                      <a:gd name="connsiteX0" fmla="*/ 0 w 428625"/>
                      <a:gd name="connsiteY0" fmla="*/ 93270 h 98032"/>
                      <a:gd name="connsiteX1" fmla="*/ 342 w 428625"/>
                      <a:gd name="connsiteY1" fmla="*/ 56649 h 98032"/>
                      <a:gd name="connsiteX2" fmla="*/ 428625 w 428625"/>
                      <a:gd name="connsiteY2" fmla="*/ 57551 h 98032"/>
                      <a:gd name="connsiteX3" fmla="*/ 428625 w 428625"/>
                      <a:gd name="connsiteY3" fmla="*/ 98032 h 98032"/>
                      <a:gd name="connsiteX0" fmla="*/ 0 w 428625"/>
                      <a:gd name="connsiteY0" fmla="*/ 125682 h 130444"/>
                      <a:gd name="connsiteX1" fmla="*/ 342 w 428625"/>
                      <a:gd name="connsiteY1" fmla="*/ 89061 h 130444"/>
                      <a:gd name="connsiteX2" fmla="*/ 428625 w 428625"/>
                      <a:gd name="connsiteY2" fmla="*/ 89963 h 130444"/>
                      <a:gd name="connsiteX3" fmla="*/ 428625 w 428625"/>
                      <a:gd name="connsiteY3" fmla="*/ 130444 h 130444"/>
                      <a:gd name="connsiteX0" fmla="*/ 0 w 428625"/>
                      <a:gd name="connsiteY0" fmla="*/ 123335 h 128097"/>
                      <a:gd name="connsiteX1" fmla="*/ 342 w 428625"/>
                      <a:gd name="connsiteY1" fmla="*/ 86714 h 128097"/>
                      <a:gd name="connsiteX2" fmla="*/ 428625 w 428625"/>
                      <a:gd name="connsiteY2" fmla="*/ 87616 h 128097"/>
                      <a:gd name="connsiteX3" fmla="*/ 428625 w 428625"/>
                      <a:gd name="connsiteY3" fmla="*/ 128097 h 12809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428625" h="128097">
                        <a:moveTo>
                          <a:pt x="0" y="123335"/>
                        </a:moveTo>
                        <a:lnTo>
                          <a:pt x="342" y="86714"/>
                        </a:lnTo>
                        <a:cubicBezTo>
                          <a:pt x="79987" y="-25940"/>
                          <a:pt x="343907" y="-32138"/>
                          <a:pt x="428625" y="87616"/>
                        </a:cubicBezTo>
                        <a:lnTo>
                          <a:pt x="428625" y="128097"/>
                        </a:lnTo>
                      </a:path>
                    </a:pathLst>
                  </a:custGeom>
                  <a:noFill/>
                  <a:ln w="15875" cap="flat" cmpd="sng" algn="ctr">
                    <a:solidFill>
                      <a:schemeClr val="bg1"/>
                    </a:solidFill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4572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Arial"/>
                    </a:endParaRPr>
                  </a:p>
                </p:txBody>
              </p:sp>
            </p:grpSp>
            <p:sp>
              <p:nvSpPr>
                <p:cNvPr id="28" name="Ellipse 21">
                  <a:extLst>
                    <a:ext uri="{FF2B5EF4-FFF2-40B4-BE49-F238E27FC236}">
                      <a16:creationId xmlns:a16="http://schemas.microsoft.com/office/drawing/2014/main" id="{85854FF8-10C5-449B-4292-DA41BC90B8BC}"/>
                    </a:ext>
                  </a:extLst>
                </p:cNvPr>
                <p:cNvSpPr/>
                <p:nvPr/>
              </p:nvSpPr>
              <p:spPr>
                <a:xfrm>
                  <a:off x="2624109" y="6278156"/>
                  <a:ext cx="133462" cy="133461"/>
                </a:xfrm>
                <a:prstGeom prst="ellipse">
                  <a:avLst/>
                </a:prstGeom>
                <a:noFill/>
                <a:ln w="15875" cap="flat" cmpd="sng" algn="ctr">
                  <a:solidFill>
                    <a:schemeClr val="bg1"/>
                  </a:solidFill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4572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</a:endParaRPr>
                </a:p>
              </p:txBody>
            </p:sp>
            <p:sp>
              <p:nvSpPr>
                <p:cNvPr id="30" name="Freihandform: Form 22">
                  <a:extLst>
                    <a:ext uri="{FF2B5EF4-FFF2-40B4-BE49-F238E27FC236}">
                      <a16:creationId xmlns:a16="http://schemas.microsoft.com/office/drawing/2014/main" id="{9837AC2F-E18E-653A-60B2-A8CAAA7F0AF0}"/>
                    </a:ext>
                  </a:extLst>
                </p:cNvPr>
                <p:cNvSpPr/>
                <p:nvPr/>
              </p:nvSpPr>
              <p:spPr>
                <a:xfrm>
                  <a:off x="2601846" y="6438320"/>
                  <a:ext cx="207001" cy="94978"/>
                </a:xfrm>
                <a:custGeom>
                  <a:avLst/>
                  <a:gdLst>
                    <a:gd name="connsiteX0" fmla="*/ 88042 w 207001"/>
                    <a:gd name="connsiteY0" fmla="*/ 9 h 94978"/>
                    <a:gd name="connsiteX1" fmla="*/ 207001 w 207001"/>
                    <a:gd name="connsiteY1" fmla="*/ 64963 h 94978"/>
                    <a:gd name="connsiteX2" fmla="*/ 207001 w 207001"/>
                    <a:gd name="connsiteY2" fmla="*/ 94978 h 94978"/>
                    <a:gd name="connsiteX3" fmla="*/ 91801 w 207001"/>
                    <a:gd name="connsiteY3" fmla="*/ 93255 h 94978"/>
                    <a:gd name="connsiteX4" fmla="*/ 0 w 207001"/>
                    <a:gd name="connsiteY4" fmla="*/ 30966 h 94978"/>
                    <a:gd name="connsiteX5" fmla="*/ 19966 w 207001"/>
                    <a:gd name="connsiteY5" fmla="*/ 16674 h 94978"/>
                    <a:gd name="connsiteX6" fmla="*/ 88042 w 207001"/>
                    <a:gd name="connsiteY6" fmla="*/ 9 h 94978"/>
                    <a:gd name="connsiteX0" fmla="*/ 91801 w 207001"/>
                    <a:gd name="connsiteY0" fmla="*/ 93255 h 184695"/>
                    <a:gd name="connsiteX1" fmla="*/ 0 w 207001"/>
                    <a:gd name="connsiteY1" fmla="*/ 30966 h 184695"/>
                    <a:gd name="connsiteX2" fmla="*/ 19966 w 207001"/>
                    <a:gd name="connsiteY2" fmla="*/ 16674 h 184695"/>
                    <a:gd name="connsiteX3" fmla="*/ 88042 w 207001"/>
                    <a:gd name="connsiteY3" fmla="*/ 9 h 184695"/>
                    <a:gd name="connsiteX4" fmla="*/ 207001 w 207001"/>
                    <a:gd name="connsiteY4" fmla="*/ 64963 h 184695"/>
                    <a:gd name="connsiteX5" fmla="*/ 207001 w 207001"/>
                    <a:gd name="connsiteY5" fmla="*/ 94978 h 184695"/>
                    <a:gd name="connsiteX6" fmla="*/ 183241 w 207001"/>
                    <a:gd name="connsiteY6" fmla="*/ 184695 h 184695"/>
                    <a:gd name="connsiteX0" fmla="*/ 91801 w 207001"/>
                    <a:gd name="connsiteY0" fmla="*/ 93255 h 94978"/>
                    <a:gd name="connsiteX1" fmla="*/ 0 w 207001"/>
                    <a:gd name="connsiteY1" fmla="*/ 30966 h 94978"/>
                    <a:gd name="connsiteX2" fmla="*/ 19966 w 207001"/>
                    <a:gd name="connsiteY2" fmla="*/ 16674 h 94978"/>
                    <a:gd name="connsiteX3" fmla="*/ 88042 w 207001"/>
                    <a:gd name="connsiteY3" fmla="*/ 9 h 94978"/>
                    <a:gd name="connsiteX4" fmla="*/ 207001 w 207001"/>
                    <a:gd name="connsiteY4" fmla="*/ 64963 h 94978"/>
                    <a:gd name="connsiteX5" fmla="*/ 207001 w 207001"/>
                    <a:gd name="connsiteY5" fmla="*/ 94978 h 94978"/>
                    <a:gd name="connsiteX0" fmla="*/ 0 w 207001"/>
                    <a:gd name="connsiteY0" fmla="*/ 30966 h 94978"/>
                    <a:gd name="connsiteX1" fmla="*/ 19966 w 207001"/>
                    <a:gd name="connsiteY1" fmla="*/ 16674 h 94978"/>
                    <a:gd name="connsiteX2" fmla="*/ 88042 w 207001"/>
                    <a:gd name="connsiteY2" fmla="*/ 9 h 94978"/>
                    <a:gd name="connsiteX3" fmla="*/ 207001 w 207001"/>
                    <a:gd name="connsiteY3" fmla="*/ 64963 h 94978"/>
                    <a:gd name="connsiteX4" fmla="*/ 207001 w 207001"/>
                    <a:gd name="connsiteY4" fmla="*/ 94978 h 949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207001" h="94978">
                      <a:moveTo>
                        <a:pt x="0" y="30966"/>
                      </a:moveTo>
                      <a:lnTo>
                        <a:pt x="19966" y="16674"/>
                      </a:lnTo>
                      <a:cubicBezTo>
                        <a:pt x="40486" y="5885"/>
                        <a:pt x="64220" y="254"/>
                        <a:pt x="88042" y="9"/>
                      </a:cubicBezTo>
                      <a:cubicBezTo>
                        <a:pt x="135685" y="-482"/>
                        <a:pt x="183677" y="20567"/>
                        <a:pt x="207001" y="64963"/>
                      </a:cubicBezTo>
                      <a:lnTo>
                        <a:pt x="207001" y="94978"/>
                      </a:lnTo>
                    </a:path>
                  </a:pathLst>
                </a:custGeom>
                <a:noFill/>
                <a:ln w="15875" cap="flat" cmpd="sng" algn="ctr">
                  <a:solidFill>
                    <a:schemeClr val="bg1"/>
                  </a:solidFill>
                  <a:prstDash val="solid"/>
                  <a:miter lim="800000"/>
                </a:ln>
                <a:effectLst/>
              </p:spPr>
              <p:txBody>
                <a:bodyPr wrap="square" rtlCol="0" anchor="ctr">
                  <a:noAutofit/>
                </a:bodyPr>
                <a:lstStyle/>
                <a:p>
                  <a:pPr marL="0" marR="0" lvl="0" indent="0" algn="ctr" defTabSz="4572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</a:endParaRPr>
                </a:p>
              </p:txBody>
            </p:sp>
          </p:grpSp>
        </p:grpSp>
        <p:sp>
          <p:nvSpPr>
            <p:cNvPr id="68" name="Free-form: Shape 67">
              <a:extLst>
                <a:ext uri="{FF2B5EF4-FFF2-40B4-BE49-F238E27FC236}">
                  <a16:creationId xmlns:a16="http://schemas.microsoft.com/office/drawing/2014/main" id="{F345CF6A-F34F-173E-450B-69CE383CE83A}"/>
                </a:ext>
              </a:extLst>
            </p:cNvPr>
            <p:cNvSpPr>
              <a:spLocks noChangeAspect="1"/>
            </p:cNvSpPr>
            <p:nvPr/>
          </p:nvSpPr>
          <p:spPr>
            <a:xfrm rot="2700000">
              <a:off x="2896953" y="2387789"/>
              <a:ext cx="349307" cy="495509"/>
            </a:xfrm>
            <a:custGeom>
              <a:avLst/>
              <a:gdLst>
                <a:gd name="connsiteX0" fmla="*/ 1264306 w 3520254"/>
                <a:gd name="connsiteY0" fmla="*/ 3335430 h 4993673"/>
                <a:gd name="connsiteX1" fmla="*/ 1862010 w 3520254"/>
                <a:gd name="connsiteY1" fmla="*/ 2737725 h 4993673"/>
                <a:gd name="connsiteX2" fmla="*/ 2094081 w 3520254"/>
                <a:gd name="connsiteY2" fmla="*/ 2737725 h 4993673"/>
                <a:gd name="connsiteX3" fmla="*/ 2094081 w 3520254"/>
                <a:gd name="connsiteY3" fmla="*/ 2969796 h 4993673"/>
                <a:gd name="connsiteX4" fmla="*/ 1496377 w 3520254"/>
                <a:gd name="connsiteY4" fmla="*/ 3567501 h 4993673"/>
                <a:gd name="connsiteX5" fmla="*/ 1264306 w 3520254"/>
                <a:gd name="connsiteY5" fmla="*/ 3567501 h 4993673"/>
                <a:gd name="connsiteX6" fmla="*/ 1264306 w 3520254"/>
                <a:gd name="connsiteY6" fmla="*/ 3335430 h 4993673"/>
                <a:gd name="connsiteX7" fmla="*/ 786278 w 3520254"/>
                <a:gd name="connsiteY7" fmla="*/ 2857402 h 4993673"/>
                <a:gd name="connsiteX8" fmla="*/ 1383982 w 3520254"/>
                <a:gd name="connsiteY8" fmla="*/ 2259697 h 4993673"/>
                <a:gd name="connsiteX9" fmla="*/ 1616053 w 3520254"/>
                <a:gd name="connsiteY9" fmla="*/ 2259697 h 4993673"/>
                <a:gd name="connsiteX10" fmla="*/ 1616053 w 3520254"/>
                <a:gd name="connsiteY10" fmla="*/ 2491768 h 4993673"/>
                <a:gd name="connsiteX11" fmla="*/ 1018349 w 3520254"/>
                <a:gd name="connsiteY11" fmla="*/ 3089473 h 4993673"/>
                <a:gd name="connsiteX12" fmla="*/ 786278 w 3520254"/>
                <a:gd name="connsiteY12" fmla="*/ 3089473 h 4993673"/>
                <a:gd name="connsiteX13" fmla="*/ 786278 w 3520254"/>
                <a:gd name="connsiteY13" fmla="*/ 2857402 h 4993673"/>
                <a:gd name="connsiteX14" fmla="*/ 661419 w 3520254"/>
                <a:gd name="connsiteY14" fmla="*/ 2134838 h 4993673"/>
                <a:gd name="connsiteX15" fmla="*/ 661419 w 3520254"/>
                <a:gd name="connsiteY15" fmla="*/ 3692360 h 4993673"/>
                <a:gd name="connsiteX16" fmla="*/ 2218940 w 3520254"/>
                <a:gd name="connsiteY16" fmla="*/ 3692360 h 4993673"/>
                <a:gd name="connsiteX17" fmla="*/ 2218940 w 3520254"/>
                <a:gd name="connsiteY17" fmla="*/ 2134838 h 4993673"/>
                <a:gd name="connsiteX18" fmla="*/ 661419 w 3520254"/>
                <a:gd name="connsiteY18" fmla="*/ 2134838 h 4993673"/>
                <a:gd name="connsiteX19" fmla="*/ 1305764 w 3520254"/>
                <a:gd name="connsiteY19" fmla="*/ 85627 h 4993673"/>
                <a:gd name="connsiteX20" fmla="*/ 1356053 w 3520254"/>
                <a:gd name="connsiteY20" fmla="*/ 35337 h 4993673"/>
                <a:gd name="connsiteX21" fmla="*/ 1526678 w 3520254"/>
                <a:gd name="connsiteY21" fmla="*/ 35337 h 4993673"/>
                <a:gd name="connsiteX22" fmla="*/ 2076389 w 3520254"/>
                <a:gd name="connsiteY22" fmla="*/ 585048 h 4993673"/>
                <a:gd name="connsiteX23" fmla="*/ 2076389 w 3520254"/>
                <a:gd name="connsiteY23" fmla="*/ 755673 h 4993673"/>
                <a:gd name="connsiteX24" fmla="*/ 2026100 w 3520254"/>
                <a:gd name="connsiteY24" fmla="*/ 805963 h 4993673"/>
                <a:gd name="connsiteX25" fmla="*/ 1855475 w 3520254"/>
                <a:gd name="connsiteY25" fmla="*/ 805963 h 4993673"/>
                <a:gd name="connsiteX26" fmla="*/ 1597575 w 3520254"/>
                <a:gd name="connsiteY26" fmla="*/ 548063 h 4993673"/>
                <a:gd name="connsiteX27" fmla="*/ 1597575 w 3520254"/>
                <a:gd name="connsiteY27" fmla="*/ 1482802 h 4993673"/>
                <a:gd name="connsiteX28" fmla="*/ 1715245 w 3520254"/>
                <a:gd name="connsiteY28" fmla="*/ 1499783 h 4993673"/>
                <a:gd name="connsiteX29" fmla="*/ 2458541 w 3520254"/>
                <a:gd name="connsiteY29" fmla="*/ 1895238 h 4993673"/>
                <a:gd name="connsiteX30" fmla="*/ 2643087 w 3520254"/>
                <a:gd name="connsiteY30" fmla="*/ 3706035 h 4993673"/>
                <a:gd name="connsiteX31" fmla="*/ 2562773 w 3520254"/>
                <a:gd name="connsiteY31" fmla="*/ 3815278 h 4993673"/>
                <a:gd name="connsiteX32" fmla="*/ 2986249 w 3520254"/>
                <a:gd name="connsiteY32" fmla="*/ 4238755 h 4993673"/>
                <a:gd name="connsiteX33" fmla="*/ 3264002 w 3520254"/>
                <a:gd name="connsiteY33" fmla="*/ 3961002 h 4993673"/>
                <a:gd name="connsiteX34" fmla="*/ 3434627 w 3520254"/>
                <a:gd name="connsiteY34" fmla="*/ 3961002 h 4993673"/>
                <a:gd name="connsiteX35" fmla="*/ 3484917 w 3520254"/>
                <a:gd name="connsiteY35" fmla="*/ 4011291 h 4993673"/>
                <a:gd name="connsiteX36" fmla="*/ 3484917 w 3520254"/>
                <a:gd name="connsiteY36" fmla="*/ 4181916 h 4993673"/>
                <a:gd name="connsiteX37" fmla="*/ 3207164 w 3520254"/>
                <a:gd name="connsiteY37" fmla="*/ 4459669 h 4993673"/>
                <a:gd name="connsiteX38" fmla="*/ 3428750 w 3520254"/>
                <a:gd name="connsiteY38" fmla="*/ 4681255 h 4993673"/>
                <a:gd name="connsiteX39" fmla="*/ 3428750 w 3520254"/>
                <a:gd name="connsiteY39" fmla="*/ 4851880 h 4993673"/>
                <a:gd name="connsiteX40" fmla="*/ 3378460 w 3520254"/>
                <a:gd name="connsiteY40" fmla="*/ 4902169 h 4993673"/>
                <a:gd name="connsiteX41" fmla="*/ 3207835 w 3520254"/>
                <a:gd name="connsiteY41" fmla="*/ 4902169 h 4993673"/>
                <a:gd name="connsiteX42" fmla="*/ 2986249 w 3520254"/>
                <a:gd name="connsiteY42" fmla="*/ 4680583 h 4993673"/>
                <a:gd name="connsiteX43" fmla="*/ 2708496 w 3520254"/>
                <a:gd name="connsiteY43" fmla="*/ 4958336 h 4993673"/>
                <a:gd name="connsiteX44" fmla="*/ 2537872 w 3520254"/>
                <a:gd name="connsiteY44" fmla="*/ 4958336 h 4993673"/>
                <a:gd name="connsiteX45" fmla="*/ 2487582 w 3520254"/>
                <a:gd name="connsiteY45" fmla="*/ 4908047 h 4993673"/>
                <a:gd name="connsiteX46" fmla="*/ 2487582 w 3520254"/>
                <a:gd name="connsiteY46" fmla="*/ 4737422 h 4993673"/>
                <a:gd name="connsiteX47" fmla="*/ 2765335 w 3520254"/>
                <a:gd name="connsiteY47" fmla="*/ 4459669 h 4993673"/>
                <a:gd name="connsiteX48" fmla="*/ 2341859 w 3520254"/>
                <a:gd name="connsiteY48" fmla="*/ 4036192 h 4993673"/>
                <a:gd name="connsiteX49" fmla="*/ 2232616 w 3520254"/>
                <a:gd name="connsiteY49" fmla="*/ 4116506 h 4993673"/>
                <a:gd name="connsiteX50" fmla="*/ 421818 w 3520254"/>
                <a:gd name="connsiteY50" fmla="*/ 3931960 h 4993673"/>
                <a:gd name="connsiteX51" fmla="*/ 421818 w 3520254"/>
                <a:gd name="connsiteY51" fmla="*/ 1895238 h 4993673"/>
                <a:gd name="connsiteX52" fmla="*/ 1165114 w 3520254"/>
                <a:gd name="connsiteY52" fmla="*/ 1499783 h 4993673"/>
                <a:gd name="connsiteX53" fmla="*/ 1285155 w 3520254"/>
                <a:gd name="connsiteY53" fmla="*/ 1482460 h 4993673"/>
                <a:gd name="connsiteX54" fmla="*/ 1285155 w 3520254"/>
                <a:gd name="connsiteY54" fmla="*/ 548064 h 4993673"/>
                <a:gd name="connsiteX55" fmla="*/ 1027256 w 3520254"/>
                <a:gd name="connsiteY55" fmla="*/ 805963 h 4993673"/>
                <a:gd name="connsiteX56" fmla="*/ 856631 w 3520254"/>
                <a:gd name="connsiteY56" fmla="*/ 805963 h 4993673"/>
                <a:gd name="connsiteX57" fmla="*/ 806342 w 3520254"/>
                <a:gd name="connsiteY57" fmla="*/ 755674 h 4993673"/>
                <a:gd name="connsiteX58" fmla="*/ 806342 w 3520254"/>
                <a:gd name="connsiteY58" fmla="*/ 585049 h 4993673"/>
                <a:gd name="connsiteX59" fmla="*/ 1305761 w 3520254"/>
                <a:gd name="connsiteY59" fmla="*/ 85629 h 49936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</a:cxnLst>
              <a:rect l="l" t="t" r="r" b="b"/>
              <a:pathLst>
                <a:path w="3520254" h="4993673">
                  <a:moveTo>
                    <a:pt x="1264306" y="3335430"/>
                  </a:moveTo>
                  <a:lnTo>
                    <a:pt x="1862010" y="2737725"/>
                  </a:lnTo>
                  <a:cubicBezTo>
                    <a:pt x="1926095" y="2673641"/>
                    <a:pt x="2029997" y="2673641"/>
                    <a:pt x="2094081" y="2737725"/>
                  </a:cubicBezTo>
                  <a:cubicBezTo>
                    <a:pt x="2158166" y="2801810"/>
                    <a:pt x="2158166" y="2905712"/>
                    <a:pt x="2094081" y="2969796"/>
                  </a:cubicBezTo>
                  <a:lnTo>
                    <a:pt x="1496377" y="3567501"/>
                  </a:lnTo>
                  <a:cubicBezTo>
                    <a:pt x="1432292" y="3631585"/>
                    <a:pt x="1328390" y="3631585"/>
                    <a:pt x="1264306" y="3567501"/>
                  </a:cubicBezTo>
                  <a:cubicBezTo>
                    <a:pt x="1200221" y="3503416"/>
                    <a:pt x="1200221" y="3399514"/>
                    <a:pt x="1264306" y="3335430"/>
                  </a:cubicBezTo>
                  <a:close/>
                  <a:moveTo>
                    <a:pt x="786278" y="2857402"/>
                  </a:moveTo>
                  <a:lnTo>
                    <a:pt x="1383982" y="2259697"/>
                  </a:lnTo>
                  <a:cubicBezTo>
                    <a:pt x="1448067" y="2195613"/>
                    <a:pt x="1551969" y="2195613"/>
                    <a:pt x="1616053" y="2259697"/>
                  </a:cubicBezTo>
                  <a:cubicBezTo>
                    <a:pt x="1680138" y="2323781"/>
                    <a:pt x="1680138" y="2427684"/>
                    <a:pt x="1616053" y="2491768"/>
                  </a:cubicBezTo>
                  <a:lnTo>
                    <a:pt x="1018349" y="3089473"/>
                  </a:lnTo>
                  <a:cubicBezTo>
                    <a:pt x="954264" y="3153557"/>
                    <a:pt x="850362" y="3153557"/>
                    <a:pt x="786278" y="3089473"/>
                  </a:cubicBezTo>
                  <a:cubicBezTo>
                    <a:pt x="722193" y="3025388"/>
                    <a:pt x="722193" y="2921486"/>
                    <a:pt x="786278" y="2857402"/>
                  </a:cubicBezTo>
                  <a:close/>
                  <a:moveTo>
                    <a:pt x="661419" y="2134838"/>
                  </a:moveTo>
                  <a:cubicBezTo>
                    <a:pt x="231321" y="2564936"/>
                    <a:pt x="231321" y="3262262"/>
                    <a:pt x="661419" y="3692360"/>
                  </a:cubicBezTo>
                  <a:cubicBezTo>
                    <a:pt x="1091516" y="4122457"/>
                    <a:pt x="1788843" y="4122457"/>
                    <a:pt x="2218940" y="3692360"/>
                  </a:cubicBezTo>
                  <a:cubicBezTo>
                    <a:pt x="2649038" y="3262262"/>
                    <a:pt x="2649038" y="2564936"/>
                    <a:pt x="2218940" y="2134838"/>
                  </a:cubicBezTo>
                  <a:cubicBezTo>
                    <a:pt x="1788843" y="1704741"/>
                    <a:pt x="1091517" y="1704741"/>
                    <a:pt x="661419" y="2134838"/>
                  </a:cubicBezTo>
                  <a:close/>
                  <a:moveTo>
                    <a:pt x="1305764" y="85627"/>
                  </a:moveTo>
                  <a:lnTo>
                    <a:pt x="1356053" y="35337"/>
                  </a:lnTo>
                  <a:cubicBezTo>
                    <a:pt x="1403170" y="-11780"/>
                    <a:pt x="1479561" y="-11780"/>
                    <a:pt x="1526678" y="35337"/>
                  </a:cubicBezTo>
                  <a:lnTo>
                    <a:pt x="2076389" y="585048"/>
                  </a:lnTo>
                  <a:cubicBezTo>
                    <a:pt x="2123506" y="632165"/>
                    <a:pt x="2123506" y="708557"/>
                    <a:pt x="2076389" y="755673"/>
                  </a:cubicBezTo>
                  <a:lnTo>
                    <a:pt x="2026100" y="805963"/>
                  </a:lnTo>
                  <a:cubicBezTo>
                    <a:pt x="1978983" y="853079"/>
                    <a:pt x="1902591" y="853079"/>
                    <a:pt x="1855475" y="805963"/>
                  </a:cubicBezTo>
                  <a:lnTo>
                    <a:pt x="1597575" y="548063"/>
                  </a:lnTo>
                  <a:lnTo>
                    <a:pt x="1597575" y="1482802"/>
                  </a:lnTo>
                  <a:lnTo>
                    <a:pt x="1715245" y="1499783"/>
                  </a:lnTo>
                  <a:cubicBezTo>
                    <a:pt x="1987581" y="1552510"/>
                    <a:pt x="2247631" y="1684329"/>
                    <a:pt x="2458541" y="1895238"/>
                  </a:cubicBezTo>
                  <a:cubicBezTo>
                    <a:pt x="2950663" y="2387360"/>
                    <a:pt x="3012178" y="3147027"/>
                    <a:pt x="2643087" y="3706035"/>
                  </a:cubicBezTo>
                  <a:lnTo>
                    <a:pt x="2562773" y="3815278"/>
                  </a:lnTo>
                  <a:lnTo>
                    <a:pt x="2986249" y="4238755"/>
                  </a:lnTo>
                  <a:lnTo>
                    <a:pt x="3264002" y="3961002"/>
                  </a:lnTo>
                  <a:cubicBezTo>
                    <a:pt x="3311119" y="3913885"/>
                    <a:pt x="3387511" y="3913885"/>
                    <a:pt x="3434627" y="3961002"/>
                  </a:cubicBezTo>
                  <a:lnTo>
                    <a:pt x="3484917" y="4011291"/>
                  </a:lnTo>
                  <a:cubicBezTo>
                    <a:pt x="3532033" y="4058408"/>
                    <a:pt x="3532033" y="4134799"/>
                    <a:pt x="3484917" y="4181916"/>
                  </a:cubicBezTo>
                  <a:lnTo>
                    <a:pt x="3207164" y="4459669"/>
                  </a:lnTo>
                  <a:lnTo>
                    <a:pt x="3428750" y="4681255"/>
                  </a:lnTo>
                  <a:cubicBezTo>
                    <a:pt x="3475866" y="4728371"/>
                    <a:pt x="3475866" y="4804763"/>
                    <a:pt x="3428750" y="4851880"/>
                  </a:cubicBezTo>
                  <a:lnTo>
                    <a:pt x="3378460" y="4902169"/>
                  </a:lnTo>
                  <a:cubicBezTo>
                    <a:pt x="3331344" y="4949286"/>
                    <a:pt x="3254952" y="4949286"/>
                    <a:pt x="3207835" y="4902169"/>
                  </a:cubicBezTo>
                  <a:lnTo>
                    <a:pt x="2986249" y="4680583"/>
                  </a:lnTo>
                  <a:lnTo>
                    <a:pt x="2708496" y="4958336"/>
                  </a:lnTo>
                  <a:cubicBezTo>
                    <a:pt x="2661380" y="5005453"/>
                    <a:pt x="2584988" y="5005453"/>
                    <a:pt x="2537872" y="4958336"/>
                  </a:cubicBezTo>
                  <a:lnTo>
                    <a:pt x="2487582" y="4908047"/>
                  </a:lnTo>
                  <a:cubicBezTo>
                    <a:pt x="2440466" y="4860930"/>
                    <a:pt x="2440466" y="4784538"/>
                    <a:pt x="2487582" y="4737422"/>
                  </a:cubicBezTo>
                  <a:lnTo>
                    <a:pt x="2765335" y="4459669"/>
                  </a:lnTo>
                  <a:lnTo>
                    <a:pt x="2341859" y="4036192"/>
                  </a:lnTo>
                  <a:lnTo>
                    <a:pt x="2232616" y="4116506"/>
                  </a:lnTo>
                  <a:cubicBezTo>
                    <a:pt x="1673608" y="4485597"/>
                    <a:pt x="913941" y="4424082"/>
                    <a:pt x="421818" y="3931960"/>
                  </a:cubicBezTo>
                  <a:cubicBezTo>
                    <a:pt x="-140606" y="3369535"/>
                    <a:pt x="-140606" y="2457663"/>
                    <a:pt x="421818" y="1895238"/>
                  </a:cubicBezTo>
                  <a:cubicBezTo>
                    <a:pt x="632728" y="1684328"/>
                    <a:pt x="892778" y="1552510"/>
                    <a:pt x="1165114" y="1499783"/>
                  </a:cubicBezTo>
                  <a:lnTo>
                    <a:pt x="1285155" y="1482460"/>
                  </a:lnTo>
                  <a:lnTo>
                    <a:pt x="1285155" y="548064"/>
                  </a:lnTo>
                  <a:lnTo>
                    <a:pt x="1027256" y="805963"/>
                  </a:lnTo>
                  <a:cubicBezTo>
                    <a:pt x="980139" y="853080"/>
                    <a:pt x="903748" y="853080"/>
                    <a:pt x="856631" y="805963"/>
                  </a:cubicBezTo>
                  <a:lnTo>
                    <a:pt x="806342" y="755674"/>
                  </a:lnTo>
                  <a:cubicBezTo>
                    <a:pt x="759225" y="708557"/>
                    <a:pt x="759225" y="632166"/>
                    <a:pt x="806342" y="585049"/>
                  </a:cubicBezTo>
                  <a:lnTo>
                    <a:pt x="1305761" y="85629"/>
                  </a:lnTo>
                  <a:close/>
                </a:path>
              </a:pathLst>
            </a:custGeom>
            <a:noFill/>
            <a:ln w="158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GB" dirty="0"/>
            </a:p>
          </p:txBody>
        </p:sp>
        <p:grpSp>
          <p:nvGrpSpPr>
            <p:cNvPr id="69" name="Group 68">
              <a:extLst>
                <a:ext uri="{FF2B5EF4-FFF2-40B4-BE49-F238E27FC236}">
                  <a16:creationId xmlns:a16="http://schemas.microsoft.com/office/drawing/2014/main" id="{FA7E69C2-53D9-0B5F-351F-9791CEDF3214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1915963" y="2483444"/>
              <a:ext cx="475042" cy="354301"/>
              <a:chOff x="4115674" y="662227"/>
              <a:chExt cx="663435" cy="494809"/>
            </a:xfrm>
          </p:grpSpPr>
          <p:grpSp>
            <p:nvGrpSpPr>
              <p:cNvPr id="70" name="Group 69">
                <a:extLst>
                  <a:ext uri="{FF2B5EF4-FFF2-40B4-BE49-F238E27FC236}">
                    <a16:creationId xmlns:a16="http://schemas.microsoft.com/office/drawing/2014/main" id="{FD694309-3C0A-8D3F-B23E-C06B045263BF}"/>
                  </a:ext>
                </a:extLst>
              </p:cNvPr>
              <p:cNvGrpSpPr/>
              <p:nvPr/>
            </p:nvGrpSpPr>
            <p:grpSpPr>
              <a:xfrm>
                <a:off x="4115674" y="738122"/>
                <a:ext cx="663435" cy="418914"/>
                <a:chOff x="4115674" y="738122"/>
                <a:chExt cx="663435" cy="418914"/>
              </a:xfrm>
            </p:grpSpPr>
            <p:sp>
              <p:nvSpPr>
                <p:cNvPr id="74" name="Freihandform: Form 33">
                  <a:extLst>
                    <a:ext uri="{FF2B5EF4-FFF2-40B4-BE49-F238E27FC236}">
                      <a16:creationId xmlns:a16="http://schemas.microsoft.com/office/drawing/2014/main" id="{D956F863-E32E-C62D-94BD-FEA38822BCB8}"/>
                    </a:ext>
                  </a:extLst>
                </p:cNvPr>
                <p:cNvSpPr/>
                <p:nvPr/>
              </p:nvSpPr>
              <p:spPr>
                <a:xfrm>
                  <a:off x="4115674" y="738122"/>
                  <a:ext cx="144803" cy="418914"/>
                </a:xfrm>
                <a:custGeom>
                  <a:avLst/>
                  <a:gdLst>
                    <a:gd name="connsiteX0" fmla="*/ 94861 w 122049"/>
                    <a:gd name="connsiteY0" fmla="*/ 157854 h 353087"/>
                    <a:gd name="connsiteX1" fmla="*/ 57397 w 122049"/>
                    <a:gd name="connsiteY1" fmla="*/ 53623 h 353087"/>
                    <a:gd name="connsiteX2" fmla="*/ 26591 w 122049"/>
                    <a:gd name="connsiteY2" fmla="*/ 3386 h 353087"/>
                    <a:gd name="connsiteX3" fmla="*/ 31 w 122049"/>
                    <a:gd name="connsiteY3" fmla="*/ 6793 h 353087"/>
                    <a:gd name="connsiteX4" fmla="*/ 32462 w 122049"/>
                    <a:gd name="connsiteY4" fmla="*/ 203914 h 353087"/>
                    <a:gd name="connsiteX5" fmla="*/ 40151 w 122049"/>
                    <a:gd name="connsiteY5" fmla="*/ 227731 h 353087"/>
                    <a:gd name="connsiteX6" fmla="*/ 117559 w 122049"/>
                    <a:gd name="connsiteY6" fmla="*/ 305139 h 353087"/>
                    <a:gd name="connsiteX7" fmla="*/ 122050 w 122049"/>
                    <a:gd name="connsiteY7" fmla="*/ 315973 h 353087"/>
                    <a:gd name="connsiteX8" fmla="*/ 122050 w 122049"/>
                    <a:gd name="connsiteY8" fmla="*/ 353087 h 3530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122049" h="353087">
                      <a:moveTo>
                        <a:pt x="94861" y="157854"/>
                      </a:moveTo>
                      <a:cubicBezTo>
                        <a:pt x="77370" y="130402"/>
                        <a:pt x="57397" y="53623"/>
                        <a:pt x="57397" y="53623"/>
                      </a:cubicBezTo>
                      <a:cubicBezTo>
                        <a:pt x="53833" y="37372"/>
                        <a:pt x="43104" y="9240"/>
                        <a:pt x="26591" y="3386"/>
                      </a:cubicBezTo>
                      <a:cubicBezTo>
                        <a:pt x="26591" y="3386"/>
                        <a:pt x="-1052" y="-6155"/>
                        <a:pt x="31" y="6793"/>
                      </a:cubicBezTo>
                      <a:cubicBezTo>
                        <a:pt x="31" y="6793"/>
                        <a:pt x="4697" y="91331"/>
                        <a:pt x="32462" y="203914"/>
                      </a:cubicBezTo>
                      <a:cubicBezTo>
                        <a:pt x="33249" y="207112"/>
                        <a:pt x="37827" y="225407"/>
                        <a:pt x="40151" y="227731"/>
                      </a:cubicBezTo>
                      <a:lnTo>
                        <a:pt x="117559" y="305139"/>
                      </a:lnTo>
                      <a:cubicBezTo>
                        <a:pt x="120425" y="308005"/>
                        <a:pt x="122050" y="311902"/>
                        <a:pt x="122050" y="315973"/>
                      </a:cubicBezTo>
                      <a:lnTo>
                        <a:pt x="122050" y="353087"/>
                      </a:lnTo>
                    </a:path>
                  </a:pathLst>
                </a:custGeom>
                <a:noFill/>
                <a:ln w="15875" cap="flat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0" tIns="0" rIns="0" bIns="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457200"/>
                  <a:endParaRPr lang="en-GB" kern="0" dirty="0">
                    <a:solidFill>
                      <a:srgbClr val="404955"/>
                    </a:solidFill>
                    <a:latin typeface="Arial"/>
                  </a:endParaRPr>
                </a:p>
              </p:txBody>
            </p:sp>
            <p:sp>
              <p:nvSpPr>
                <p:cNvPr id="75" name="Freihandform: Form 34">
                  <a:extLst>
                    <a:ext uri="{FF2B5EF4-FFF2-40B4-BE49-F238E27FC236}">
                      <a16:creationId xmlns:a16="http://schemas.microsoft.com/office/drawing/2014/main" id="{EB7F168A-F8FF-6615-B6CC-D6EF02C04013}"/>
                    </a:ext>
                  </a:extLst>
                </p:cNvPr>
                <p:cNvSpPr/>
                <p:nvPr/>
              </p:nvSpPr>
              <p:spPr>
                <a:xfrm>
                  <a:off x="4208706" y="923995"/>
                  <a:ext cx="190754" cy="233020"/>
                </a:xfrm>
                <a:custGeom>
                  <a:avLst/>
                  <a:gdLst>
                    <a:gd name="connsiteX0" fmla="*/ 160780 w 160779"/>
                    <a:gd name="connsiteY0" fmla="*/ 196404 h 196404"/>
                    <a:gd name="connsiteX1" fmla="*/ 159994 w 160779"/>
                    <a:gd name="connsiteY1" fmla="*/ 137570 h 196404"/>
                    <a:gd name="connsiteX2" fmla="*/ 133573 w 160779"/>
                    <a:gd name="connsiteY2" fmla="*/ 77968 h 196404"/>
                    <a:gd name="connsiteX3" fmla="*/ 129502 w 160779"/>
                    <a:gd name="connsiteY3" fmla="*/ 74700 h 196404"/>
                    <a:gd name="connsiteX4" fmla="*/ 110595 w 160779"/>
                    <a:gd name="connsiteY4" fmla="*/ 61455 h 196404"/>
                    <a:gd name="connsiteX5" fmla="*/ 40543 w 160779"/>
                    <a:gd name="connsiteY5" fmla="*/ 6955 h 196404"/>
                    <a:gd name="connsiteX6" fmla="*/ 40543 w 160779"/>
                    <a:gd name="connsiteY6" fmla="*/ 6955 h 196404"/>
                    <a:gd name="connsiteX7" fmla="*/ 23751 w 160779"/>
                    <a:gd name="connsiteY7" fmla="*/ 0 h 196404"/>
                    <a:gd name="connsiteX8" fmla="*/ 6959 w 160779"/>
                    <a:gd name="connsiteY8" fmla="*/ 6955 h 196404"/>
                    <a:gd name="connsiteX9" fmla="*/ 6959 w 160779"/>
                    <a:gd name="connsiteY9" fmla="*/ 6955 h 196404"/>
                    <a:gd name="connsiteX10" fmla="*/ 6959 w 160779"/>
                    <a:gd name="connsiteY10" fmla="*/ 40539 h 196404"/>
                    <a:gd name="connsiteX11" fmla="*/ 61809 w 160779"/>
                    <a:gd name="connsiteY11" fmla="*/ 95389 h 19640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</a:cxnLst>
                  <a:rect l="l" t="t" r="r" b="b"/>
                  <a:pathLst>
                    <a:path w="160779" h="196404">
                      <a:moveTo>
                        <a:pt x="160780" y="196404"/>
                      </a:moveTo>
                      <a:lnTo>
                        <a:pt x="159994" y="137570"/>
                      </a:lnTo>
                      <a:cubicBezTo>
                        <a:pt x="159609" y="114942"/>
                        <a:pt x="150645" y="92820"/>
                        <a:pt x="133573" y="77968"/>
                      </a:cubicBezTo>
                      <a:cubicBezTo>
                        <a:pt x="132158" y="76727"/>
                        <a:pt x="130795" y="75644"/>
                        <a:pt x="129502" y="74700"/>
                      </a:cubicBezTo>
                      <a:cubicBezTo>
                        <a:pt x="123736" y="70506"/>
                        <a:pt x="117637" y="65719"/>
                        <a:pt x="110595" y="61455"/>
                      </a:cubicBezTo>
                      <a:cubicBezTo>
                        <a:pt x="85206" y="46061"/>
                        <a:pt x="61529" y="27958"/>
                        <a:pt x="40543" y="6955"/>
                      </a:cubicBezTo>
                      <a:lnTo>
                        <a:pt x="40543" y="6955"/>
                      </a:lnTo>
                      <a:cubicBezTo>
                        <a:pt x="35913" y="2324"/>
                        <a:pt x="29832" y="0"/>
                        <a:pt x="23751" y="0"/>
                      </a:cubicBezTo>
                      <a:cubicBezTo>
                        <a:pt x="17670" y="0"/>
                        <a:pt x="11589" y="2324"/>
                        <a:pt x="6959" y="6955"/>
                      </a:cubicBezTo>
                      <a:lnTo>
                        <a:pt x="6959" y="6955"/>
                      </a:lnTo>
                      <a:cubicBezTo>
                        <a:pt x="-2320" y="16233"/>
                        <a:pt x="-2320" y="31260"/>
                        <a:pt x="6959" y="40539"/>
                      </a:cubicBezTo>
                      <a:lnTo>
                        <a:pt x="61809" y="95389"/>
                      </a:lnTo>
                    </a:path>
                  </a:pathLst>
                </a:custGeom>
                <a:noFill/>
                <a:ln w="15875" cap="flat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0" tIns="0" rIns="0" bIns="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457200"/>
                  <a:endParaRPr lang="en-GB" kern="0" dirty="0">
                    <a:solidFill>
                      <a:srgbClr val="404955"/>
                    </a:solidFill>
                    <a:latin typeface="Arial"/>
                  </a:endParaRPr>
                </a:p>
              </p:txBody>
            </p:sp>
            <p:sp>
              <p:nvSpPr>
                <p:cNvPr id="76" name="Freihandform: Form 35">
                  <a:extLst>
                    <a:ext uri="{FF2B5EF4-FFF2-40B4-BE49-F238E27FC236}">
                      <a16:creationId xmlns:a16="http://schemas.microsoft.com/office/drawing/2014/main" id="{34C32D27-708A-022B-3A11-7BE24C264C15}"/>
                    </a:ext>
                  </a:extLst>
                </p:cNvPr>
                <p:cNvSpPr/>
                <p:nvPr/>
              </p:nvSpPr>
              <p:spPr>
                <a:xfrm>
                  <a:off x="4634306" y="738122"/>
                  <a:ext cx="144803" cy="418914"/>
                </a:xfrm>
                <a:custGeom>
                  <a:avLst/>
                  <a:gdLst>
                    <a:gd name="connsiteX0" fmla="*/ 27189 w 122049"/>
                    <a:gd name="connsiteY0" fmla="*/ 157854 h 353087"/>
                    <a:gd name="connsiteX1" fmla="*/ 64653 w 122049"/>
                    <a:gd name="connsiteY1" fmla="*/ 53623 h 353087"/>
                    <a:gd name="connsiteX2" fmla="*/ 95459 w 122049"/>
                    <a:gd name="connsiteY2" fmla="*/ 3386 h 353087"/>
                    <a:gd name="connsiteX3" fmla="*/ 122019 w 122049"/>
                    <a:gd name="connsiteY3" fmla="*/ 6793 h 353087"/>
                    <a:gd name="connsiteX4" fmla="*/ 89588 w 122049"/>
                    <a:gd name="connsiteY4" fmla="*/ 203914 h 353087"/>
                    <a:gd name="connsiteX5" fmla="*/ 81899 w 122049"/>
                    <a:gd name="connsiteY5" fmla="*/ 227731 h 353087"/>
                    <a:gd name="connsiteX6" fmla="*/ 4491 w 122049"/>
                    <a:gd name="connsiteY6" fmla="*/ 305139 h 353087"/>
                    <a:gd name="connsiteX7" fmla="*/ 0 w 122049"/>
                    <a:gd name="connsiteY7" fmla="*/ 315973 h 353087"/>
                    <a:gd name="connsiteX8" fmla="*/ 0 w 122049"/>
                    <a:gd name="connsiteY8" fmla="*/ 353087 h 3530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122049" h="353087">
                      <a:moveTo>
                        <a:pt x="27189" y="157854"/>
                      </a:moveTo>
                      <a:cubicBezTo>
                        <a:pt x="44680" y="130402"/>
                        <a:pt x="64653" y="53623"/>
                        <a:pt x="64653" y="53623"/>
                      </a:cubicBezTo>
                      <a:cubicBezTo>
                        <a:pt x="68217" y="37372"/>
                        <a:pt x="78946" y="9240"/>
                        <a:pt x="95459" y="3386"/>
                      </a:cubicBezTo>
                      <a:cubicBezTo>
                        <a:pt x="95459" y="3386"/>
                        <a:pt x="123102" y="-6155"/>
                        <a:pt x="122019" y="6793"/>
                      </a:cubicBezTo>
                      <a:cubicBezTo>
                        <a:pt x="122019" y="6793"/>
                        <a:pt x="117353" y="91331"/>
                        <a:pt x="89588" y="203914"/>
                      </a:cubicBezTo>
                      <a:cubicBezTo>
                        <a:pt x="88801" y="207112"/>
                        <a:pt x="84223" y="225407"/>
                        <a:pt x="81899" y="227731"/>
                      </a:cubicBezTo>
                      <a:lnTo>
                        <a:pt x="4491" y="305139"/>
                      </a:lnTo>
                      <a:cubicBezTo>
                        <a:pt x="1625" y="308005"/>
                        <a:pt x="0" y="311902"/>
                        <a:pt x="0" y="315973"/>
                      </a:cubicBezTo>
                      <a:lnTo>
                        <a:pt x="0" y="353087"/>
                      </a:lnTo>
                    </a:path>
                  </a:pathLst>
                </a:custGeom>
                <a:noFill/>
                <a:ln w="15875" cap="flat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0" tIns="0" rIns="0" bIns="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457200"/>
                  <a:endParaRPr lang="en-GB" kern="0" dirty="0">
                    <a:solidFill>
                      <a:srgbClr val="404955"/>
                    </a:solidFill>
                    <a:latin typeface="Arial"/>
                  </a:endParaRPr>
                </a:p>
              </p:txBody>
            </p:sp>
            <p:sp>
              <p:nvSpPr>
                <p:cNvPr id="77" name="Freihandform: Form 36">
                  <a:extLst>
                    <a:ext uri="{FF2B5EF4-FFF2-40B4-BE49-F238E27FC236}">
                      <a16:creationId xmlns:a16="http://schemas.microsoft.com/office/drawing/2014/main" id="{B0B7EEDE-7FC4-1E1E-56D4-4C2C37533B4C}"/>
                    </a:ext>
                  </a:extLst>
                </p:cNvPr>
                <p:cNvSpPr/>
                <p:nvPr/>
              </p:nvSpPr>
              <p:spPr>
                <a:xfrm>
                  <a:off x="4495323" y="923995"/>
                  <a:ext cx="190775" cy="233020"/>
                </a:xfrm>
                <a:custGeom>
                  <a:avLst/>
                  <a:gdLst>
                    <a:gd name="connsiteX0" fmla="*/ 0 w 160797"/>
                    <a:gd name="connsiteY0" fmla="*/ 196404 h 196404"/>
                    <a:gd name="connsiteX1" fmla="*/ 786 w 160797"/>
                    <a:gd name="connsiteY1" fmla="*/ 137570 h 196404"/>
                    <a:gd name="connsiteX2" fmla="*/ 27207 w 160797"/>
                    <a:gd name="connsiteY2" fmla="*/ 77968 h 196404"/>
                    <a:gd name="connsiteX3" fmla="*/ 31295 w 160797"/>
                    <a:gd name="connsiteY3" fmla="*/ 74700 h 196404"/>
                    <a:gd name="connsiteX4" fmla="*/ 50202 w 160797"/>
                    <a:gd name="connsiteY4" fmla="*/ 61455 h 196404"/>
                    <a:gd name="connsiteX5" fmla="*/ 120254 w 160797"/>
                    <a:gd name="connsiteY5" fmla="*/ 6955 h 196404"/>
                    <a:gd name="connsiteX6" fmla="*/ 120254 w 160797"/>
                    <a:gd name="connsiteY6" fmla="*/ 6955 h 196404"/>
                    <a:gd name="connsiteX7" fmla="*/ 137046 w 160797"/>
                    <a:gd name="connsiteY7" fmla="*/ 0 h 196404"/>
                    <a:gd name="connsiteX8" fmla="*/ 153838 w 160797"/>
                    <a:gd name="connsiteY8" fmla="*/ 6955 h 196404"/>
                    <a:gd name="connsiteX9" fmla="*/ 153838 w 160797"/>
                    <a:gd name="connsiteY9" fmla="*/ 6955 h 196404"/>
                    <a:gd name="connsiteX10" fmla="*/ 153838 w 160797"/>
                    <a:gd name="connsiteY10" fmla="*/ 40539 h 196404"/>
                    <a:gd name="connsiteX11" fmla="*/ 98989 w 160797"/>
                    <a:gd name="connsiteY11" fmla="*/ 95389 h 19640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</a:cxnLst>
                  <a:rect l="l" t="t" r="r" b="b"/>
                  <a:pathLst>
                    <a:path w="160797" h="196404">
                      <a:moveTo>
                        <a:pt x="0" y="196404"/>
                      </a:moveTo>
                      <a:lnTo>
                        <a:pt x="786" y="137570"/>
                      </a:lnTo>
                      <a:cubicBezTo>
                        <a:pt x="1171" y="114942"/>
                        <a:pt x="10135" y="92820"/>
                        <a:pt x="27207" y="77968"/>
                      </a:cubicBezTo>
                      <a:cubicBezTo>
                        <a:pt x="28622" y="76727"/>
                        <a:pt x="30002" y="75644"/>
                        <a:pt x="31295" y="74700"/>
                      </a:cubicBezTo>
                      <a:cubicBezTo>
                        <a:pt x="37062" y="70506"/>
                        <a:pt x="43160" y="65719"/>
                        <a:pt x="50202" y="61455"/>
                      </a:cubicBezTo>
                      <a:cubicBezTo>
                        <a:pt x="75591" y="46061"/>
                        <a:pt x="99268" y="27958"/>
                        <a:pt x="120254" y="6955"/>
                      </a:cubicBezTo>
                      <a:lnTo>
                        <a:pt x="120254" y="6955"/>
                      </a:lnTo>
                      <a:cubicBezTo>
                        <a:pt x="124885" y="2324"/>
                        <a:pt x="130965" y="0"/>
                        <a:pt x="137046" y="0"/>
                      </a:cubicBezTo>
                      <a:cubicBezTo>
                        <a:pt x="143127" y="0"/>
                        <a:pt x="149208" y="2324"/>
                        <a:pt x="153838" y="6955"/>
                      </a:cubicBezTo>
                      <a:lnTo>
                        <a:pt x="153838" y="6955"/>
                      </a:lnTo>
                      <a:cubicBezTo>
                        <a:pt x="163117" y="16233"/>
                        <a:pt x="163117" y="31260"/>
                        <a:pt x="153838" y="40539"/>
                      </a:cubicBezTo>
                      <a:lnTo>
                        <a:pt x="98989" y="95389"/>
                      </a:lnTo>
                    </a:path>
                  </a:pathLst>
                </a:custGeom>
                <a:noFill/>
                <a:ln w="15875" cap="flat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0" tIns="0" rIns="0" bIns="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457200"/>
                  <a:endParaRPr lang="en-GB" kern="0" dirty="0">
                    <a:solidFill>
                      <a:srgbClr val="404955"/>
                    </a:solidFill>
                    <a:latin typeface="Arial"/>
                  </a:endParaRPr>
                </a:p>
              </p:txBody>
            </p:sp>
          </p:grpSp>
          <p:grpSp>
            <p:nvGrpSpPr>
              <p:cNvPr id="71" name="Group 70">
                <a:extLst>
                  <a:ext uri="{FF2B5EF4-FFF2-40B4-BE49-F238E27FC236}">
                    <a16:creationId xmlns:a16="http://schemas.microsoft.com/office/drawing/2014/main" id="{FCEB229C-B725-11C6-07D9-D928146BD1FB}"/>
                  </a:ext>
                </a:extLst>
              </p:cNvPr>
              <p:cNvGrpSpPr/>
              <p:nvPr/>
            </p:nvGrpSpPr>
            <p:grpSpPr>
              <a:xfrm>
                <a:off x="4332277" y="662227"/>
                <a:ext cx="236582" cy="289030"/>
                <a:chOff x="2018678" y="7450455"/>
                <a:chExt cx="299440" cy="365823"/>
              </a:xfrm>
            </p:grpSpPr>
            <p:sp>
              <p:nvSpPr>
                <p:cNvPr id="72" name="Freeform 234">
                  <a:extLst>
                    <a:ext uri="{FF2B5EF4-FFF2-40B4-BE49-F238E27FC236}">
                      <a16:creationId xmlns:a16="http://schemas.microsoft.com/office/drawing/2014/main" id="{2D5CCD44-9B15-3D1C-7485-55B87BAB8063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2099188" y="7588874"/>
                  <a:ext cx="138421" cy="90396"/>
                </a:xfrm>
                <a:custGeom>
                  <a:avLst/>
                  <a:gdLst>
                    <a:gd name="T0" fmla="*/ 98 w 98"/>
                    <a:gd name="T1" fmla="*/ 0 h 64"/>
                    <a:gd name="T2" fmla="*/ 67 w 98"/>
                    <a:gd name="T3" fmla="*/ 33 h 64"/>
                    <a:gd name="T4" fmla="*/ 34 w 98"/>
                    <a:gd name="T5" fmla="*/ 64 h 64"/>
                    <a:gd name="T6" fmla="*/ 0 w 98"/>
                    <a:gd name="T7" fmla="*/ 33 h 6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98" h="64">
                      <a:moveTo>
                        <a:pt x="98" y="0"/>
                      </a:moveTo>
                      <a:lnTo>
                        <a:pt x="67" y="33"/>
                      </a:lnTo>
                      <a:lnTo>
                        <a:pt x="34" y="64"/>
                      </a:lnTo>
                      <a:lnTo>
                        <a:pt x="0" y="33"/>
                      </a:lnTo>
                    </a:path>
                  </a:pathLst>
                </a:custGeom>
                <a:noFill/>
                <a:ln w="15875" cap="flat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0" tIns="0" rIns="0" bIns="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457200"/>
                  <a:endParaRPr lang="en-GB" kern="0" dirty="0">
                    <a:solidFill>
                      <a:srgbClr val="404955"/>
                    </a:solidFill>
                    <a:latin typeface="Arial"/>
                  </a:endParaRPr>
                </a:p>
              </p:txBody>
            </p:sp>
            <p:sp>
              <p:nvSpPr>
                <p:cNvPr id="73" name="Freeform 233">
                  <a:extLst>
                    <a:ext uri="{FF2B5EF4-FFF2-40B4-BE49-F238E27FC236}">
                      <a16:creationId xmlns:a16="http://schemas.microsoft.com/office/drawing/2014/main" id="{CDBBC566-1788-875A-6924-AD7EDA77978C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2018678" y="7450455"/>
                  <a:ext cx="299440" cy="365823"/>
                </a:xfrm>
                <a:custGeom>
                  <a:avLst/>
                  <a:gdLst>
                    <a:gd name="T0" fmla="*/ 44 w 89"/>
                    <a:gd name="T1" fmla="*/ 109 h 109"/>
                    <a:gd name="T2" fmla="*/ 89 w 89"/>
                    <a:gd name="T3" fmla="*/ 55 h 109"/>
                    <a:gd name="T4" fmla="*/ 89 w 89"/>
                    <a:gd name="T5" fmla="*/ 14 h 109"/>
                    <a:gd name="T6" fmla="*/ 44 w 89"/>
                    <a:gd name="T7" fmla="*/ 0 h 109"/>
                    <a:gd name="T8" fmla="*/ 0 w 89"/>
                    <a:gd name="T9" fmla="*/ 14 h 109"/>
                    <a:gd name="T10" fmla="*/ 0 w 89"/>
                    <a:gd name="T11" fmla="*/ 55 h 109"/>
                    <a:gd name="T12" fmla="*/ 44 w 89"/>
                    <a:gd name="T13" fmla="*/ 109 h 10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89" h="109">
                      <a:moveTo>
                        <a:pt x="44" y="109"/>
                      </a:moveTo>
                      <a:cubicBezTo>
                        <a:pt x="44" y="109"/>
                        <a:pt x="89" y="92"/>
                        <a:pt x="89" y="55"/>
                      </a:cubicBezTo>
                      <a:cubicBezTo>
                        <a:pt x="89" y="14"/>
                        <a:pt x="89" y="14"/>
                        <a:pt x="89" y="14"/>
                      </a:cubicBezTo>
                      <a:cubicBezTo>
                        <a:pt x="89" y="14"/>
                        <a:pt x="69" y="0"/>
                        <a:pt x="44" y="0"/>
                      </a:cubicBezTo>
                      <a:cubicBezTo>
                        <a:pt x="20" y="0"/>
                        <a:pt x="0" y="14"/>
                        <a:pt x="0" y="14"/>
                      </a:cubicBezTo>
                      <a:cubicBezTo>
                        <a:pt x="0" y="55"/>
                        <a:pt x="0" y="55"/>
                        <a:pt x="0" y="55"/>
                      </a:cubicBezTo>
                      <a:cubicBezTo>
                        <a:pt x="0" y="92"/>
                        <a:pt x="44" y="109"/>
                        <a:pt x="44" y="109"/>
                      </a:cubicBezTo>
                      <a:close/>
                    </a:path>
                  </a:pathLst>
                </a:custGeom>
                <a:noFill/>
                <a:ln w="15875" cap="flat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0" tIns="0" rIns="0" bIns="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457200"/>
                  <a:endParaRPr lang="en-GB" kern="0" dirty="0">
                    <a:solidFill>
                      <a:srgbClr val="404955"/>
                    </a:solidFill>
                    <a:latin typeface="Arial"/>
                  </a:endParaRPr>
                </a:p>
              </p:txBody>
            </p:sp>
          </p:grpSp>
        </p:grpSp>
        <p:grpSp>
          <p:nvGrpSpPr>
            <p:cNvPr id="78" name="Gruppieren 97">
              <a:extLst>
                <a:ext uri="{FF2B5EF4-FFF2-40B4-BE49-F238E27FC236}">
                  <a16:creationId xmlns:a16="http://schemas.microsoft.com/office/drawing/2014/main" id="{C2CCA4FA-2542-EFF9-6599-9384DEBA628E}"/>
                </a:ext>
              </a:extLst>
            </p:cNvPr>
            <p:cNvGrpSpPr/>
            <p:nvPr/>
          </p:nvGrpSpPr>
          <p:grpSpPr>
            <a:xfrm>
              <a:off x="1892714" y="3348363"/>
              <a:ext cx="521540" cy="365792"/>
              <a:chOff x="1244202" y="5718911"/>
              <a:chExt cx="390314" cy="273754"/>
            </a:xfrm>
          </p:grpSpPr>
          <p:grpSp>
            <p:nvGrpSpPr>
              <p:cNvPr id="79" name="Gruppieren 77">
                <a:extLst>
                  <a:ext uri="{FF2B5EF4-FFF2-40B4-BE49-F238E27FC236}">
                    <a16:creationId xmlns:a16="http://schemas.microsoft.com/office/drawing/2014/main" id="{08B9A621-2B2A-9528-6650-648FC8D8C3BD}"/>
                  </a:ext>
                </a:extLst>
              </p:cNvPr>
              <p:cNvGrpSpPr/>
              <p:nvPr/>
            </p:nvGrpSpPr>
            <p:grpSpPr>
              <a:xfrm>
                <a:off x="1248829" y="5718911"/>
                <a:ext cx="267326" cy="203638"/>
                <a:chOff x="2372418" y="6278156"/>
                <a:chExt cx="436429" cy="332455"/>
              </a:xfrm>
              <a:noFill/>
            </p:grpSpPr>
            <p:grpSp>
              <p:nvGrpSpPr>
                <p:cNvPr id="81" name="Gruppieren 78">
                  <a:extLst>
                    <a:ext uri="{FF2B5EF4-FFF2-40B4-BE49-F238E27FC236}">
                      <a16:creationId xmlns:a16="http://schemas.microsoft.com/office/drawing/2014/main" id="{C0DF4BD5-9F9E-2FEA-8915-F8EBF85963C5}"/>
                    </a:ext>
                  </a:extLst>
                </p:cNvPr>
                <p:cNvGrpSpPr/>
                <p:nvPr/>
              </p:nvGrpSpPr>
              <p:grpSpPr>
                <a:xfrm>
                  <a:off x="2372418" y="6355469"/>
                  <a:ext cx="236012" cy="255142"/>
                  <a:chOff x="3800021" y="2196690"/>
                  <a:chExt cx="1970092" cy="2129785"/>
                </a:xfrm>
                <a:grpFill/>
              </p:grpSpPr>
              <p:sp>
                <p:nvSpPr>
                  <p:cNvPr id="84" name="Ellipse 81">
                    <a:extLst>
                      <a:ext uri="{FF2B5EF4-FFF2-40B4-BE49-F238E27FC236}">
                        <a16:creationId xmlns:a16="http://schemas.microsoft.com/office/drawing/2014/main" id="{33BA73B2-7A5A-C9DE-B923-D3DB40A51641}"/>
                      </a:ext>
                    </a:extLst>
                  </p:cNvPr>
                  <p:cNvSpPr/>
                  <p:nvPr/>
                </p:nvSpPr>
                <p:spPr>
                  <a:xfrm>
                    <a:off x="4228033" y="2196690"/>
                    <a:ext cx="1114060" cy="1114059"/>
                  </a:xfrm>
                  <a:prstGeom prst="ellipse">
                    <a:avLst/>
                  </a:prstGeom>
                  <a:grpFill/>
                  <a:ln w="15875" cap="rnd">
                    <a:solidFill>
                      <a:schemeClr val="bg1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defTabSz="514213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013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404955"/>
                      </a:solidFill>
                      <a:effectLst/>
                      <a:uLnTx/>
                      <a:uFillTx/>
                      <a:latin typeface="Arial"/>
                    </a:endParaRPr>
                  </a:p>
                </p:txBody>
              </p:sp>
              <p:sp>
                <p:nvSpPr>
                  <p:cNvPr id="85" name="Freihandform: Form 82">
                    <a:extLst>
                      <a:ext uri="{FF2B5EF4-FFF2-40B4-BE49-F238E27FC236}">
                        <a16:creationId xmlns:a16="http://schemas.microsoft.com/office/drawing/2014/main" id="{26401F68-8E94-BAE3-0D3D-AEC13B5CB065}"/>
                      </a:ext>
                    </a:extLst>
                  </p:cNvPr>
                  <p:cNvSpPr/>
                  <p:nvPr/>
                </p:nvSpPr>
                <p:spPr>
                  <a:xfrm>
                    <a:off x="3800021" y="3533651"/>
                    <a:ext cx="1970092" cy="792824"/>
                  </a:xfrm>
                  <a:custGeom>
                    <a:avLst/>
                    <a:gdLst>
                      <a:gd name="connsiteX0" fmla="*/ 0 w 428625"/>
                      <a:gd name="connsiteY0" fmla="*/ 130969 h 135731"/>
                      <a:gd name="connsiteX1" fmla="*/ 216694 w 428625"/>
                      <a:gd name="connsiteY1" fmla="*/ 0 h 135731"/>
                      <a:gd name="connsiteX2" fmla="*/ 428625 w 428625"/>
                      <a:gd name="connsiteY2" fmla="*/ 95250 h 135731"/>
                      <a:gd name="connsiteX3" fmla="*/ 428625 w 428625"/>
                      <a:gd name="connsiteY3" fmla="*/ 135731 h 135731"/>
                      <a:gd name="connsiteX0" fmla="*/ 0 w 428625"/>
                      <a:gd name="connsiteY0" fmla="*/ 130969 h 135731"/>
                      <a:gd name="connsiteX1" fmla="*/ 37277 w 428625"/>
                      <a:gd name="connsiteY1" fmla="*/ 106660 h 135731"/>
                      <a:gd name="connsiteX2" fmla="*/ 216694 w 428625"/>
                      <a:gd name="connsiteY2" fmla="*/ 0 h 135731"/>
                      <a:gd name="connsiteX3" fmla="*/ 428625 w 428625"/>
                      <a:gd name="connsiteY3" fmla="*/ 95250 h 135731"/>
                      <a:gd name="connsiteX4" fmla="*/ 428625 w 428625"/>
                      <a:gd name="connsiteY4" fmla="*/ 135731 h 135731"/>
                      <a:gd name="connsiteX0" fmla="*/ 0 w 428625"/>
                      <a:gd name="connsiteY0" fmla="*/ 130969 h 135731"/>
                      <a:gd name="connsiteX1" fmla="*/ 342 w 428625"/>
                      <a:gd name="connsiteY1" fmla="*/ 94348 h 135731"/>
                      <a:gd name="connsiteX2" fmla="*/ 216694 w 428625"/>
                      <a:gd name="connsiteY2" fmla="*/ 0 h 135731"/>
                      <a:gd name="connsiteX3" fmla="*/ 428625 w 428625"/>
                      <a:gd name="connsiteY3" fmla="*/ 95250 h 135731"/>
                      <a:gd name="connsiteX4" fmla="*/ 428625 w 428625"/>
                      <a:gd name="connsiteY4" fmla="*/ 135731 h 135731"/>
                      <a:gd name="connsiteX0" fmla="*/ 0 w 428625"/>
                      <a:gd name="connsiteY0" fmla="*/ 130969 h 135731"/>
                      <a:gd name="connsiteX1" fmla="*/ 342 w 428625"/>
                      <a:gd name="connsiteY1" fmla="*/ 94348 h 135731"/>
                      <a:gd name="connsiteX2" fmla="*/ 216694 w 428625"/>
                      <a:gd name="connsiteY2" fmla="*/ 0 h 135731"/>
                      <a:gd name="connsiteX3" fmla="*/ 428625 w 428625"/>
                      <a:gd name="connsiteY3" fmla="*/ 95250 h 135731"/>
                      <a:gd name="connsiteX4" fmla="*/ 428625 w 428625"/>
                      <a:gd name="connsiteY4" fmla="*/ 135731 h 135731"/>
                      <a:gd name="connsiteX0" fmla="*/ 0 w 428625"/>
                      <a:gd name="connsiteY0" fmla="*/ 130969 h 135731"/>
                      <a:gd name="connsiteX1" fmla="*/ 342 w 428625"/>
                      <a:gd name="connsiteY1" fmla="*/ 94348 h 135731"/>
                      <a:gd name="connsiteX2" fmla="*/ 216694 w 428625"/>
                      <a:gd name="connsiteY2" fmla="*/ 0 h 135731"/>
                      <a:gd name="connsiteX3" fmla="*/ 428625 w 428625"/>
                      <a:gd name="connsiteY3" fmla="*/ 95250 h 135731"/>
                      <a:gd name="connsiteX4" fmla="*/ 428625 w 428625"/>
                      <a:gd name="connsiteY4" fmla="*/ 135731 h 135731"/>
                      <a:gd name="connsiteX0" fmla="*/ 0 w 428625"/>
                      <a:gd name="connsiteY0" fmla="*/ 40995 h 45757"/>
                      <a:gd name="connsiteX1" fmla="*/ 342 w 428625"/>
                      <a:gd name="connsiteY1" fmla="*/ 4374 h 45757"/>
                      <a:gd name="connsiteX2" fmla="*/ 428625 w 428625"/>
                      <a:gd name="connsiteY2" fmla="*/ 5276 h 45757"/>
                      <a:gd name="connsiteX3" fmla="*/ 428625 w 428625"/>
                      <a:gd name="connsiteY3" fmla="*/ 45757 h 45757"/>
                      <a:gd name="connsiteX0" fmla="*/ 0 w 428625"/>
                      <a:gd name="connsiteY0" fmla="*/ 93270 h 98032"/>
                      <a:gd name="connsiteX1" fmla="*/ 342 w 428625"/>
                      <a:gd name="connsiteY1" fmla="*/ 56649 h 98032"/>
                      <a:gd name="connsiteX2" fmla="*/ 428625 w 428625"/>
                      <a:gd name="connsiteY2" fmla="*/ 57551 h 98032"/>
                      <a:gd name="connsiteX3" fmla="*/ 428625 w 428625"/>
                      <a:gd name="connsiteY3" fmla="*/ 98032 h 98032"/>
                      <a:gd name="connsiteX0" fmla="*/ 0 w 428625"/>
                      <a:gd name="connsiteY0" fmla="*/ 125682 h 130444"/>
                      <a:gd name="connsiteX1" fmla="*/ 342 w 428625"/>
                      <a:gd name="connsiteY1" fmla="*/ 89061 h 130444"/>
                      <a:gd name="connsiteX2" fmla="*/ 428625 w 428625"/>
                      <a:gd name="connsiteY2" fmla="*/ 89963 h 130444"/>
                      <a:gd name="connsiteX3" fmla="*/ 428625 w 428625"/>
                      <a:gd name="connsiteY3" fmla="*/ 130444 h 130444"/>
                      <a:gd name="connsiteX0" fmla="*/ 0 w 428625"/>
                      <a:gd name="connsiteY0" fmla="*/ 123335 h 128097"/>
                      <a:gd name="connsiteX1" fmla="*/ 342 w 428625"/>
                      <a:gd name="connsiteY1" fmla="*/ 86714 h 128097"/>
                      <a:gd name="connsiteX2" fmla="*/ 428625 w 428625"/>
                      <a:gd name="connsiteY2" fmla="*/ 87616 h 128097"/>
                      <a:gd name="connsiteX3" fmla="*/ 428625 w 428625"/>
                      <a:gd name="connsiteY3" fmla="*/ 128097 h 12809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428625" h="128097">
                        <a:moveTo>
                          <a:pt x="0" y="123335"/>
                        </a:moveTo>
                        <a:lnTo>
                          <a:pt x="342" y="86714"/>
                        </a:lnTo>
                        <a:cubicBezTo>
                          <a:pt x="79987" y="-25940"/>
                          <a:pt x="343907" y="-32138"/>
                          <a:pt x="428625" y="87616"/>
                        </a:cubicBezTo>
                        <a:lnTo>
                          <a:pt x="428625" y="128097"/>
                        </a:lnTo>
                      </a:path>
                    </a:pathLst>
                  </a:custGeom>
                  <a:grpFill/>
                  <a:ln w="15875" cap="rnd">
                    <a:solidFill>
                      <a:schemeClr val="bg1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defTabSz="514213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013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404955"/>
                      </a:solidFill>
                      <a:effectLst/>
                      <a:uLnTx/>
                      <a:uFillTx/>
                      <a:latin typeface="Arial"/>
                    </a:endParaRPr>
                  </a:p>
                </p:txBody>
              </p:sp>
            </p:grpSp>
            <p:sp>
              <p:nvSpPr>
                <p:cNvPr id="82" name="Ellipse 79">
                  <a:extLst>
                    <a:ext uri="{FF2B5EF4-FFF2-40B4-BE49-F238E27FC236}">
                      <a16:creationId xmlns:a16="http://schemas.microsoft.com/office/drawing/2014/main" id="{96DA3120-A24C-8FA2-0C71-C781E2742E07}"/>
                    </a:ext>
                  </a:extLst>
                </p:cNvPr>
                <p:cNvSpPr/>
                <p:nvPr/>
              </p:nvSpPr>
              <p:spPr>
                <a:xfrm>
                  <a:off x="2624109" y="6278156"/>
                  <a:ext cx="133462" cy="133461"/>
                </a:xfrm>
                <a:prstGeom prst="ellipse">
                  <a:avLst/>
                </a:prstGeom>
                <a:grpFill/>
                <a:ln w="15875" cap="rnd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514213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013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404955"/>
                    </a:solidFill>
                    <a:effectLst/>
                    <a:uLnTx/>
                    <a:uFillTx/>
                    <a:latin typeface="Arial"/>
                  </a:endParaRPr>
                </a:p>
              </p:txBody>
            </p:sp>
            <p:sp>
              <p:nvSpPr>
                <p:cNvPr id="83" name="Freihandform: Form 80">
                  <a:extLst>
                    <a:ext uri="{FF2B5EF4-FFF2-40B4-BE49-F238E27FC236}">
                      <a16:creationId xmlns:a16="http://schemas.microsoft.com/office/drawing/2014/main" id="{FD730FA7-2E6A-BDDC-6493-A61E84C0FF24}"/>
                    </a:ext>
                  </a:extLst>
                </p:cNvPr>
                <p:cNvSpPr/>
                <p:nvPr/>
              </p:nvSpPr>
              <p:spPr>
                <a:xfrm>
                  <a:off x="2601846" y="6438320"/>
                  <a:ext cx="207001" cy="94978"/>
                </a:xfrm>
                <a:custGeom>
                  <a:avLst/>
                  <a:gdLst>
                    <a:gd name="connsiteX0" fmla="*/ 88042 w 207001"/>
                    <a:gd name="connsiteY0" fmla="*/ 9 h 94978"/>
                    <a:gd name="connsiteX1" fmla="*/ 207001 w 207001"/>
                    <a:gd name="connsiteY1" fmla="*/ 64963 h 94978"/>
                    <a:gd name="connsiteX2" fmla="*/ 207001 w 207001"/>
                    <a:gd name="connsiteY2" fmla="*/ 94978 h 94978"/>
                    <a:gd name="connsiteX3" fmla="*/ 91801 w 207001"/>
                    <a:gd name="connsiteY3" fmla="*/ 93255 h 94978"/>
                    <a:gd name="connsiteX4" fmla="*/ 0 w 207001"/>
                    <a:gd name="connsiteY4" fmla="*/ 30966 h 94978"/>
                    <a:gd name="connsiteX5" fmla="*/ 19966 w 207001"/>
                    <a:gd name="connsiteY5" fmla="*/ 16674 h 94978"/>
                    <a:gd name="connsiteX6" fmla="*/ 88042 w 207001"/>
                    <a:gd name="connsiteY6" fmla="*/ 9 h 94978"/>
                    <a:gd name="connsiteX0" fmla="*/ 91801 w 207001"/>
                    <a:gd name="connsiteY0" fmla="*/ 93255 h 184695"/>
                    <a:gd name="connsiteX1" fmla="*/ 0 w 207001"/>
                    <a:gd name="connsiteY1" fmla="*/ 30966 h 184695"/>
                    <a:gd name="connsiteX2" fmla="*/ 19966 w 207001"/>
                    <a:gd name="connsiteY2" fmla="*/ 16674 h 184695"/>
                    <a:gd name="connsiteX3" fmla="*/ 88042 w 207001"/>
                    <a:gd name="connsiteY3" fmla="*/ 9 h 184695"/>
                    <a:gd name="connsiteX4" fmla="*/ 207001 w 207001"/>
                    <a:gd name="connsiteY4" fmla="*/ 64963 h 184695"/>
                    <a:gd name="connsiteX5" fmla="*/ 207001 w 207001"/>
                    <a:gd name="connsiteY5" fmla="*/ 94978 h 184695"/>
                    <a:gd name="connsiteX6" fmla="*/ 183241 w 207001"/>
                    <a:gd name="connsiteY6" fmla="*/ 184695 h 184695"/>
                    <a:gd name="connsiteX0" fmla="*/ 91801 w 207001"/>
                    <a:gd name="connsiteY0" fmla="*/ 93255 h 94978"/>
                    <a:gd name="connsiteX1" fmla="*/ 0 w 207001"/>
                    <a:gd name="connsiteY1" fmla="*/ 30966 h 94978"/>
                    <a:gd name="connsiteX2" fmla="*/ 19966 w 207001"/>
                    <a:gd name="connsiteY2" fmla="*/ 16674 h 94978"/>
                    <a:gd name="connsiteX3" fmla="*/ 88042 w 207001"/>
                    <a:gd name="connsiteY3" fmla="*/ 9 h 94978"/>
                    <a:gd name="connsiteX4" fmla="*/ 207001 w 207001"/>
                    <a:gd name="connsiteY4" fmla="*/ 64963 h 94978"/>
                    <a:gd name="connsiteX5" fmla="*/ 207001 w 207001"/>
                    <a:gd name="connsiteY5" fmla="*/ 94978 h 94978"/>
                    <a:gd name="connsiteX0" fmla="*/ 0 w 207001"/>
                    <a:gd name="connsiteY0" fmla="*/ 30966 h 94978"/>
                    <a:gd name="connsiteX1" fmla="*/ 19966 w 207001"/>
                    <a:gd name="connsiteY1" fmla="*/ 16674 h 94978"/>
                    <a:gd name="connsiteX2" fmla="*/ 88042 w 207001"/>
                    <a:gd name="connsiteY2" fmla="*/ 9 h 94978"/>
                    <a:gd name="connsiteX3" fmla="*/ 207001 w 207001"/>
                    <a:gd name="connsiteY3" fmla="*/ 64963 h 94978"/>
                    <a:gd name="connsiteX4" fmla="*/ 207001 w 207001"/>
                    <a:gd name="connsiteY4" fmla="*/ 94978 h 949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207001" h="94978">
                      <a:moveTo>
                        <a:pt x="0" y="30966"/>
                      </a:moveTo>
                      <a:lnTo>
                        <a:pt x="19966" y="16674"/>
                      </a:lnTo>
                      <a:cubicBezTo>
                        <a:pt x="40486" y="5885"/>
                        <a:pt x="64220" y="254"/>
                        <a:pt x="88042" y="9"/>
                      </a:cubicBezTo>
                      <a:cubicBezTo>
                        <a:pt x="135685" y="-482"/>
                        <a:pt x="183677" y="20567"/>
                        <a:pt x="207001" y="64963"/>
                      </a:cubicBezTo>
                      <a:lnTo>
                        <a:pt x="207001" y="94978"/>
                      </a:lnTo>
                    </a:path>
                  </a:pathLst>
                </a:custGeom>
                <a:grpFill/>
                <a:ln w="15875" cap="rnd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514213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013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404955"/>
                    </a:solidFill>
                    <a:effectLst/>
                    <a:uLnTx/>
                    <a:uFillTx/>
                    <a:latin typeface="Arial"/>
                  </a:endParaRPr>
                </a:p>
              </p:txBody>
            </p:sp>
          </p:grpSp>
          <p:sp>
            <p:nvSpPr>
              <p:cNvPr id="80" name="Freihandform: Form 125">
                <a:extLst>
                  <a:ext uri="{FF2B5EF4-FFF2-40B4-BE49-F238E27FC236}">
                    <a16:creationId xmlns:a16="http://schemas.microsoft.com/office/drawing/2014/main" id="{A323B1F1-99C6-65CC-DBB6-C6E06F8375DC}"/>
                  </a:ext>
                </a:extLst>
              </p:cNvPr>
              <p:cNvSpPr/>
              <p:nvPr/>
            </p:nvSpPr>
            <p:spPr>
              <a:xfrm rot="16200000">
                <a:off x="1378771" y="5736920"/>
                <a:ext cx="121176" cy="390314"/>
              </a:xfrm>
              <a:custGeom>
                <a:avLst/>
                <a:gdLst>
                  <a:gd name="connsiteX0" fmla="*/ 67716 w 135432"/>
                  <a:gd name="connsiteY0" fmla="*/ 376075 h 376075"/>
                  <a:gd name="connsiteX1" fmla="*/ 0 w 135432"/>
                  <a:gd name="connsiteY1" fmla="*/ 283931 h 376075"/>
                  <a:gd name="connsiteX2" fmla="*/ 33858 w 135432"/>
                  <a:gd name="connsiteY2" fmla="*/ 283931 h 376075"/>
                  <a:gd name="connsiteX3" fmla="*/ 33858 w 135432"/>
                  <a:gd name="connsiteY3" fmla="*/ 0 h 376075"/>
                  <a:gd name="connsiteX4" fmla="*/ 101574 w 135432"/>
                  <a:gd name="connsiteY4" fmla="*/ 0 h 376075"/>
                  <a:gd name="connsiteX5" fmla="*/ 101574 w 135432"/>
                  <a:gd name="connsiteY5" fmla="*/ 26921 h 376075"/>
                  <a:gd name="connsiteX6" fmla="*/ 78815 w 135432"/>
                  <a:gd name="connsiteY6" fmla="*/ 26921 h 376075"/>
                  <a:gd name="connsiteX7" fmla="*/ 78815 w 135432"/>
                  <a:gd name="connsiteY7" fmla="*/ 141755 h 376075"/>
                  <a:gd name="connsiteX8" fmla="*/ 101574 w 135432"/>
                  <a:gd name="connsiteY8" fmla="*/ 141755 h 376075"/>
                  <a:gd name="connsiteX9" fmla="*/ 101574 w 135432"/>
                  <a:gd name="connsiteY9" fmla="*/ 283931 h 376075"/>
                  <a:gd name="connsiteX10" fmla="*/ 135432 w 135432"/>
                  <a:gd name="connsiteY10" fmla="*/ 283931 h 376075"/>
                  <a:gd name="connsiteX0" fmla="*/ 67716 w 135432"/>
                  <a:gd name="connsiteY0" fmla="*/ 376075 h 376075"/>
                  <a:gd name="connsiteX1" fmla="*/ 0 w 135432"/>
                  <a:gd name="connsiteY1" fmla="*/ 283931 h 376075"/>
                  <a:gd name="connsiteX2" fmla="*/ 33858 w 135432"/>
                  <a:gd name="connsiteY2" fmla="*/ 283931 h 376075"/>
                  <a:gd name="connsiteX3" fmla="*/ 33858 w 135432"/>
                  <a:gd name="connsiteY3" fmla="*/ 0 h 376075"/>
                  <a:gd name="connsiteX4" fmla="*/ 101574 w 135432"/>
                  <a:gd name="connsiteY4" fmla="*/ 0 h 376075"/>
                  <a:gd name="connsiteX5" fmla="*/ 101574 w 135432"/>
                  <a:gd name="connsiteY5" fmla="*/ 26921 h 376075"/>
                  <a:gd name="connsiteX6" fmla="*/ 78815 w 135432"/>
                  <a:gd name="connsiteY6" fmla="*/ 26921 h 376075"/>
                  <a:gd name="connsiteX7" fmla="*/ 80043 w 135432"/>
                  <a:gd name="connsiteY7" fmla="*/ 87335 h 376075"/>
                  <a:gd name="connsiteX8" fmla="*/ 78815 w 135432"/>
                  <a:gd name="connsiteY8" fmla="*/ 141755 h 376075"/>
                  <a:gd name="connsiteX9" fmla="*/ 101574 w 135432"/>
                  <a:gd name="connsiteY9" fmla="*/ 141755 h 376075"/>
                  <a:gd name="connsiteX10" fmla="*/ 101574 w 135432"/>
                  <a:gd name="connsiteY10" fmla="*/ 283931 h 376075"/>
                  <a:gd name="connsiteX11" fmla="*/ 135432 w 135432"/>
                  <a:gd name="connsiteY11" fmla="*/ 283931 h 376075"/>
                  <a:gd name="connsiteX12" fmla="*/ 67716 w 135432"/>
                  <a:gd name="connsiteY12" fmla="*/ 376075 h 376075"/>
                  <a:gd name="connsiteX0" fmla="*/ 78815 w 170255"/>
                  <a:gd name="connsiteY0" fmla="*/ 26921 h 376075"/>
                  <a:gd name="connsiteX1" fmla="*/ 80043 w 170255"/>
                  <a:gd name="connsiteY1" fmla="*/ 87335 h 376075"/>
                  <a:gd name="connsiteX2" fmla="*/ 78815 w 170255"/>
                  <a:gd name="connsiteY2" fmla="*/ 141755 h 376075"/>
                  <a:gd name="connsiteX3" fmla="*/ 101574 w 170255"/>
                  <a:gd name="connsiteY3" fmla="*/ 141755 h 376075"/>
                  <a:gd name="connsiteX4" fmla="*/ 101574 w 170255"/>
                  <a:gd name="connsiteY4" fmla="*/ 283931 h 376075"/>
                  <a:gd name="connsiteX5" fmla="*/ 135432 w 170255"/>
                  <a:gd name="connsiteY5" fmla="*/ 283931 h 376075"/>
                  <a:gd name="connsiteX6" fmla="*/ 67716 w 170255"/>
                  <a:gd name="connsiteY6" fmla="*/ 376075 h 376075"/>
                  <a:gd name="connsiteX7" fmla="*/ 0 w 170255"/>
                  <a:gd name="connsiteY7" fmla="*/ 283931 h 376075"/>
                  <a:gd name="connsiteX8" fmla="*/ 33858 w 170255"/>
                  <a:gd name="connsiteY8" fmla="*/ 283931 h 376075"/>
                  <a:gd name="connsiteX9" fmla="*/ 33858 w 170255"/>
                  <a:gd name="connsiteY9" fmla="*/ 0 h 376075"/>
                  <a:gd name="connsiteX10" fmla="*/ 101574 w 170255"/>
                  <a:gd name="connsiteY10" fmla="*/ 0 h 376075"/>
                  <a:gd name="connsiteX11" fmla="*/ 101574 w 170255"/>
                  <a:gd name="connsiteY11" fmla="*/ 26921 h 376075"/>
                  <a:gd name="connsiteX12" fmla="*/ 170255 w 170255"/>
                  <a:gd name="connsiteY12" fmla="*/ 118361 h 376075"/>
                  <a:gd name="connsiteX0" fmla="*/ 78815 w 135432"/>
                  <a:gd name="connsiteY0" fmla="*/ 26921 h 376075"/>
                  <a:gd name="connsiteX1" fmla="*/ 80043 w 135432"/>
                  <a:gd name="connsiteY1" fmla="*/ 87335 h 376075"/>
                  <a:gd name="connsiteX2" fmla="*/ 78815 w 135432"/>
                  <a:gd name="connsiteY2" fmla="*/ 141755 h 376075"/>
                  <a:gd name="connsiteX3" fmla="*/ 101574 w 135432"/>
                  <a:gd name="connsiteY3" fmla="*/ 141755 h 376075"/>
                  <a:gd name="connsiteX4" fmla="*/ 101574 w 135432"/>
                  <a:gd name="connsiteY4" fmla="*/ 283931 h 376075"/>
                  <a:gd name="connsiteX5" fmla="*/ 135432 w 135432"/>
                  <a:gd name="connsiteY5" fmla="*/ 283931 h 376075"/>
                  <a:gd name="connsiteX6" fmla="*/ 67716 w 135432"/>
                  <a:gd name="connsiteY6" fmla="*/ 376075 h 376075"/>
                  <a:gd name="connsiteX7" fmla="*/ 0 w 135432"/>
                  <a:gd name="connsiteY7" fmla="*/ 283931 h 376075"/>
                  <a:gd name="connsiteX8" fmla="*/ 33858 w 135432"/>
                  <a:gd name="connsiteY8" fmla="*/ 283931 h 376075"/>
                  <a:gd name="connsiteX9" fmla="*/ 33858 w 135432"/>
                  <a:gd name="connsiteY9" fmla="*/ 0 h 376075"/>
                  <a:gd name="connsiteX10" fmla="*/ 101574 w 135432"/>
                  <a:gd name="connsiteY10" fmla="*/ 0 h 376075"/>
                  <a:gd name="connsiteX11" fmla="*/ 101574 w 135432"/>
                  <a:gd name="connsiteY11" fmla="*/ 26921 h 376075"/>
                  <a:gd name="connsiteX0" fmla="*/ 80043 w 135432"/>
                  <a:gd name="connsiteY0" fmla="*/ 87335 h 376075"/>
                  <a:gd name="connsiteX1" fmla="*/ 78815 w 135432"/>
                  <a:gd name="connsiteY1" fmla="*/ 141755 h 376075"/>
                  <a:gd name="connsiteX2" fmla="*/ 101574 w 135432"/>
                  <a:gd name="connsiteY2" fmla="*/ 141755 h 376075"/>
                  <a:gd name="connsiteX3" fmla="*/ 101574 w 135432"/>
                  <a:gd name="connsiteY3" fmla="*/ 283931 h 376075"/>
                  <a:gd name="connsiteX4" fmla="*/ 135432 w 135432"/>
                  <a:gd name="connsiteY4" fmla="*/ 283931 h 376075"/>
                  <a:gd name="connsiteX5" fmla="*/ 67716 w 135432"/>
                  <a:gd name="connsiteY5" fmla="*/ 376075 h 376075"/>
                  <a:gd name="connsiteX6" fmla="*/ 0 w 135432"/>
                  <a:gd name="connsiteY6" fmla="*/ 283931 h 376075"/>
                  <a:gd name="connsiteX7" fmla="*/ 33858 w 135432"/>
                  <a:gd name="connsiteY7" fmla="*/ 283931 h 376075"/>
                  <a:gd name="connsiteX8" fmla="*/ 33858 w 135432"/>
                  <a:gd name="connsiteY8" fmla="*/ 0 h 376075"/>
                  <a:gd name="connsiteX9" fmla="*/ 101574 w 135432"/>
                  <a:gd name="connsiteY9" fmla="*/ 0 h 376075"/>
                  <a:gd name="connsiteX10" fmla="*/ 101574 w 135432"/>
                  <a:gd name="connsiteY10" fmla="*/ 26921 h 376075"/>
                  <a:gd name="connsiteX0" fmla="*/ 78815 w 135432"/>
                  <a:gd name="connsiteY0" fmla="*/ 141755 h 376075"/>
                  <a:gd name="connsiteX1" fmla="*/ 101574 w 135432"/>
                  <a:gd name="connsiteY1" fmla="*/ 141755 h 376075"/>
                  <a:gd name="connsiteX2" fmla="*/ 101574 w 135432"/>
                  <a:gd name="connsiteY2" fmla="*/ 283931 h 376075"/>
                  <a:gd name="connsiteX3" fmla="*/ 135432 w 135432"/>
                  <a:gd name="connsiteY3" fmla="*/ 283931 h 376075"/>
                  <a:gd name="connsiteX4" fmla="*/ 67716 w 135432"/>
                  <a:gd name="connsiteY4" fmla="*/ 376075 h 376075"/>
                  <a:gd name="connsiteX5" fmla="*/ 0 w 135432"/>
                  <a:gd name="connsiteY5" fmla="*/ 283931 h 376075"/>
                  <a:gd name="connsiteX6" fmla="*/ 33858 w 135432"/>
                  <a:gd name="connsiteY6" fmla="*/ 283931 h 376075"/>
                  <a:gd name="connsiteX7" fmla="*/ 33858 w 135432"/>
                  <a:gd name="connsiteY7" fmla="*/ 0 h 376075"/>
                  <a:gd name="connsiteX8" fmla="*/ 101574 w 135432"/>
                  <a:gd name="connsiteY8" fmla="*/ 0 h 376075"/>
                  <a:gd name="connsiteX9" fmla="*/ 101574 w 135432"/>
                  <a:gd name="connsiteY9" fmla="*/ 26921 h 376075"/>
                  <a:gd name="connsiteX0" fmla="*/ 101574 w 135432"/>
                  <a:gd name="connsiteY0" fmla="*/ 141755 h 376075"/>
                  <a:gd name="connsiteX1" fmla="*/ 101574 w 135432"/>
                  <a:gd name="connsiteY1" fmla="*/ 283931 h 376075"/>
                  <a:gd name="connsiteX2" fmla="*/ 135432 w 135432"/>
                  <a:gd name="connsiteY2" fmla="*/ 283931 h 376075"/>
                  <a:gd name="connsiteX3" fmla="*/ 67716 w 135432"/>
                  <a:gd name="connsiteY3" fmla="*/ 376075 h 376075"/>
                  <a:gd name="connsiteX4" fmla="*/ 0 w 135432"/>
                  <a:gd name="connsiteY4" fmla="*/ 283931 h 376075"/>
                  <a:gd name="connsiteX5" fmla="*/ 33858 w 135432"/>
                  <a:gd name="connsiteY5" fmla="*/ 283931 h 376075"/>
                  <a:gd name="connsiteX6" fmla="*/ 33858 w 135432"/>
                  <a:gd name="connsiteY6" fmla="*/ 0 h 376075"/>
                  <a:gd name="connsiteX7" fmla="*/ 101574 w 135432"/>
                  <a:gd name="connsiteY7" fmla="*/ 0 h 376075"/>
                  <a:gd name="connsiteX8" fmla="*/ 101574 w 135432"/>
                  <a:gd name="connsiteY8" fmla="*/ 26921 h 376075"/>
                  <a:gd name="connsiteX0" fmla="*/ 101574 w 135432"/>
                  <a:gd name="connsiteY0" fmla="*/ 141755 h 376075"/>
                  <a:gd name="connsiteX1" fmla="*/ 103176 w 135432"/>
                  <a:gd name="connsiteY1" fmla="*/ 255333 h 376075"/>
                  <a:gd name="connsiteX2" fmla="*/ 101574 w 135432"/>
                  <a:gd name="connsiteY2" fmla="*/ 283931 h 376075"/>
                  <a:gd name="connsiteX3" fmla="*/ 135432 w 135432"/>
                  <a:gd name="connsiteY3" fmla="*/ 283931 h 376075"/>
                  <a:gd name="connsiteX4" fmla="*/ 67716 w 135432"/>
                  <a:gd name="connsiteY4" fmla="*/ 376075 h 376075"/>
                  <a:gd name="connsiteX5" fmla="*/ 0 w 135432"/>
                  <a:gd name="connsiteY5" fmla="*/ 283931 h 376075"/>
                  <a:gd name="connsiteX6" fmla="*/ 33858 w 135432"/>
                  <a:gd name="connsiteY6" fmla="*/ 283931 h 376075"/>
                  <a:gd name="connsiteX7" fmla="*/ 33858 w 135432"/>
                  <a:gd name="connsiteY7" fmla="*/ 0 h 376075"/>
                  <a:gd name="connsiteX8" fmla="*/ 101574 w 135432"/>
                  <a:gd name="connsiteY8" fmla="*/ 0 h 376075"/>
                  <a:gd name="connsiteX9" fmla="*/ 101574 w 135432"/>
                  <a:gd name="connsiteY9" fmla="*/ 26921 h 376075"/>
                  <a:gd name="connsiteX0" fmla="*/ 103176 w 135432"/>
                  <a:gd name="connsiteY0" fmla="*/ 255333 h 376075"/>
                  <a:gd name="connsiteX1" fmla="*/ 101574 w 135432"/>
                  <a:gd name="connsiteY1" fmla="*/ 283931 h 376075"/>
                  <a:gd name="connsiteX2" fmla="*/ 135432 w 135432"/>
                  <a:gd name="connsiteY2" fmla="*/ 283931 h 376075"/>
                  <a:gd name="connsiteX3" fmla="*/ 67716 w 135432"/>
                  <a:gd name="connsiteY3" fmla="*/ 376075 h 376075"/>
                  <a:gd name="connsiteX4" fmla="*/ 0 w 135432"/>
                  <a:gd name="connsiteY4" fmla="*/ 283931 h 376075"/>
                  <a:gd name="connsiteX5" fmla="*/ 33858 w 135432"/>
                  <a:gd name="connsiteY5" fmla="*/ 283931 h 376075"/>
                  <a:gd name="connsiteX6" fmla="*/ 33858 w 135432"/>
                  <a:gd name="connsiteY6" fmla="*/ 0 h 376075"/>
                  <a:gd name="connsiteX7" fmla="*/ 101574 w 135432"/>
                  <a:gd name="connsiteY7" fmla="*/ 0 h 376075"/>
                  <a:gd name="connsiteX8" fmla="*/ 101574 w 135432"/>
                  <a:gd name="connsiteY8" fmla="*/ 26921 h 376075"/>
                  <a:gd name="connsiteX0" fmla="*/ 103176 w 135432"/>
                  <a:gd name="connsiteY0" fmla="*/ 255333 h 376075"/>
                  <a:gd name="connsiteX1" fmla="*/ 101574 w 135432"/>
                  <a:gd name="connsiteY1" fmla="*/ 283931 h 376075"/>
                  <a:gd name="connsiteX2" fmla="*/ 135432 w 135432"/>
                  <a:gd name="connsiteY2" fmla="*/ 283931 h 376075"/>
                  <a:gd name="connsiteX3" fmla="*/ 67716 w 135432"/>
                  <a:gd name="connsiteY3" fmla="*/ 376075 h 376075"/>
                  <a:gd name="connsiteX4" fmla="*/ 0 w 135432"/>
                  <a:gd name="connsiteY4" fmla="*/ 283931 h 376075"/>
                  <a:gd name="connsiteX5" fmla="*/ 33858 w 135432"/>
                  <a:gd name="connsiteY5" fmla="*/ 283931 h 376075"/>
                  <a:gd name="connsiteX6" fmla="*/ 33858 w 135432"/>
                  <a:gd name="connsiteY6" fmla="*/ 0 h 376075"/>
                  <a:gd name="connsiteX7" fmla="*/ 101574 w 135432"/>
                  <a:gd name="connsiteY7" fmla="*/ 0 h 376075"/>
                  <a:gd name="connsiteX0" fmla="*/ 103176 w 135432"/>
                  <a:gd name="connsiteY0" fmla="*/ 255333 h 376075"/>
                  <a:gd name="connsiteX1" fmla="*/ 101574 w 135432"/>
                  <a:gd name="connsiteY1" fmla="*/ 283931 h 376075"/>
                  <a:gd name="connsiteX2" fmla="*/ 135432 w 135432"/>
                  <a:gd name="connsiteY2" fmla="*/ 283931 h 376075"/>
                  <a:gd name="connsiteX3" fmla="*/ 67716 w 135432"/>
                  <a:gd name="connsiteY3" fmla="*/ 376075 h 376075"/>
                  <a:gd name="connsiteX4" fmla="*/ 0 w 135432"/>
                  <a:gd name="connsiteY4" fmla="*/ 283931 h 376075"/>
                  <a:gd name="connsiteX5" fmla="*/ 33858 w 135432"/>
                  <a:gd name="connsiteY5" fmla="*/ 283931 h 376075"/>
                  <a:gd name="connsiteX6" fmla="*/ 33858 w 135432"/>
                  <a:gd name="connsiteY6" fmla="*/ 0 h 376075"/>
                  <a:gd name="connsiteX0" fmla="*/ 103176 w 135432"/>
                  <a:gd name="connsiteY0" fmla="*/ 315492 h 436234"/>
                  <a:gd name="connsiteX1" fmla="*/ 101574 w 135432"/>
                  <a:gd name="connsiteY1" fmla="*/ 344090 h 436234"/>
                  <a:gd name="connsiteX2" fmla="*/ 135432 w 135432"/>
                  <a:gd name="connsiteY2" fmla="*/ 344090 h 436234"/>
                  <a:gd name="connsiteX3" fmla="*/ 67716 w 135432"/>
                  <a:gd name="connsiteY3" fmla="*/ 436234 h 436234"/>
                  <a:gd name="connsiteX4" fmla="*/ 0 w 135432"/>
                  <a:gd name="connsiteY4" fmla="*/ 344090 h 436234"/>
                  <a:gd name="connsiteX5" fmla="*/ 33858 w 135432"/>
                  <a:gd name="connsiteY5" fmla="*/ 344090 h 436234"/>
                  <a:gd name="connsiteX6" fmla="*/ 33858 w 135432"/>
                  <a:gd name="connsiteY6" fmla="*/ 0 h 4362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35432" h="436234">
                    <a:moveTo>
                      <a:pt x="103176" y="315492"/>
                    </a:moveTo>
                    <a:lnTo>
                      <a:pt x="101574" y="344090"/>
                    </a:lnTo>
                    <a:lnTo>
                      <a:pt x="135432" y="344090"/>
                    </a:lnTo>
                    <a:lnTo>
                      <a:pt x="67716" y="436234"/>
                    </a:lnTo>
                    <a:lnTo>
                      <a:pt x="0" y="344090"/>
                    </a:lnTo>
                    <a:lnTo>
                      <a:pt x="33858" y="344090"/>
                    </a:lnTo>
                    <a:lnTo>
                      <a:pt x="33858" y="0"/>
                    </a:lnTo>
                  </a:path>
                </a:pathLst>
              </a:custGeom>
              <a:noFill/>
              <a:ln w="15875" cap="flat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404955"/>
                  </a:solidFill>
                  <a:effectLst/>
                  <a:uLnTx/>
                  <a:uFillTx/>
                  <a:latin typeface="Arial"/>
                </a:endParaRPr>
              </a:p>
            </p:txBody>
          </p:sp>
        </p:grpSp>
        <p:cxnSp>
          <p:nvCxnSpPr>
            <p:cNvPr id="87" name="Straight Connector 86">
              <a:extLst>
                <a:ext uri="{FF2B5EF4-FFF2-40B4-BE49-F238E27FC236}">
                  <a16:creationId xmlns:a16="http://schemas.microsoft.com/office/drawing/2014/main" id="{DC7754EE-FEAA-A8BC-D6B2-2664369A106D}"/>
                </a:ext>
              </a:extLst>
            </p:cNvPr>
            <p:cNvCxnSpPr>
              <a:cxnSpLocks/>
            </p:cNvCxnSpPr>
            <p:nvPr/>
          </p:nvCxnSpPr>
          <p:spPr>
            <a:xfrm>
              <a:off x="684212" y="3095927"/>
              <a:ext cx="3933085" cy="0"/>
            </a:xfrm>
            <a:prstGeom prst="line">
              <a:avLst/>
            </a:prstGeom>
            <a:ln w="9525" cap="rnd">
              <a:prstDash val="sysDot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8" name="Straight Connector 87">
              <a:extLst>
                <a:ext uri="{FF2B5EF4-FFF2-40B4-BE49-F238E27FC236}">
                  <a16:creationId xmlns:a16="http://schemas.microsoft.com/office/drawing/2014/main" id="{9D2646B9-C1CF-5527-829D-BABFDCDECC57}"/>
                </a:ext>
              </a:extLst>
            </p:cNvPr>
            <p:cNvCxnSpPr>
              <a:cxnSpLocks/>
            </p:cNvCxnSpPr>
            <p:nvPr/>
          </p:nvCxnSpPr>
          <p:spPr>
            <a:xfrm>
              <a:off x="2586057" y="2285927"/>
              <a:ext cx="0" cy="1620000"/>
            </a:xfrm>
            <a:prstGeom prst="line">
              <a:avLst/>
            </a:prstGeom>
            <a:ln w="9525" cap="rnd">
              <a:prstDash val="sysDot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93" name="Gruppieren 1170">
            <a:extLst>
              <a:ext uri="{FF2B5EF4-FFF2-40B4-BE49-F238E27FC236}">
                <a16:creationId xmlns:a16="http://schemas.microsoft.com/office/drawing/2014/main" id="{7D426635-9730-2AC9-8F03-06C7F69E61AF}"/>
              </a:ext>
            </a:extLst>
          </p:cNvPr>
          <p:cNvGrpSpPr>
            <a:grpSpLocks noChangeAspect="1"/>
          </p:cNvGrpSpPr>
          <p:nvPr/>
        </p:nvGrpSpPr>
        <p:grpSpPr>
          <a:xfrm flipH="1">
            <a:off x="8364788" y="4180833"/>
            <a:ext cx="354759" cy="360000"/>
            <a:chOff x="1906588" y="5275263"/>
            <a:chExt cx="644525" cy="654050"/>
          </a:xfrm>
        </p:grpSpPr>
        <p:sp>
          <p:nvSpPr>
            <p:cNvPr id="94" name="Freeform 792">
              <a:extLst>
                <a:ext uri="{FF2B5EF4-FFF2-40B4-BE49-F238E27FC236}">
                  <a16:creationId xmlns:a16="http://schemas.microsoft.com/office/drawing/2014/main" id="{3BE97E2B-E68A-4856-0FF4-6A19DC8CE8AB}"/>
                </a:ext>
              </a:extLst>
            </p:cNvPr>
            <p:cNvSpPr>
              <a:spLocks/>
            </p:cNvSpPr>
            <p:nvPr/>
          </p:nvSpPr>
          <p:spPr bwMode="auto">
            <a:xfrm>
              <a:off x="1906588" y="5275263"/>
              <a:ext cx="457200" cy="654050"/>
            </a:xfrm>
            <a:custGeom>
              <a:avLst/>
              <a:gdLst>
                <a:gd name="T0" fmla="*/ 113 w 144"/>
                <a:gd name="T1" fmla="*/ 206 h 206"/>
                <a:gd name="T2" fmla="*/ 18 w 144"/>
                <a:gd name="T3" fmla="*/ 206 h 206"/>
                <a:gd name="T4" fmla="*/ 0 w 144"/>
                <a:gd name="T5" fmla="*/ 188 h 206"/>
                <a:gd name="T6" fmla="*/ 0 w 144"/>
                <a:gd name="T7" fmla="*/ 19 h 206"/>
                <a:gd name="T8" fmla="*/ 18 w 144"/>
                <a:gd name="T9" fmla="*/ 0 h 206"/>
                <a:gd name="T10" fmla="*/ 126 w 144"/>
                <a:gd name="T11" fmla="*/ 0 h 206"/>
                <a:gd name="T12" fmla="*/ 144 w 144"/>
                <a:gd name="T13" fmla="*/ 19 h 206"/>
                <a:gd name="T14" fmla="*/ 144 w 144"/>
                <a:gd name="T15" fmla="*/ 59 h 2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4" h="206">
                  <a:moveTo>
                    <a:pt x="113" y="206"/>
                  </a:moveTo>
                  <a:cubicBezTo>
                    <a:pt x="18" y="206"/>
                    <a:pt x="18" y="206"/>
                    <a:pt x="18" y="206"/>
                  </a:cubicBezTo>
                  <a:cubicBezTo>
                    <a:pt x="5" y="206"/>
                    <a:pt x="0" y="201"/>
                    <a:pt x="0" y="188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0" y="6"/>
                    <a:pt x="5" y="0"/>
                    <a:pt x="18" y="0"/>
                  </a:cubicBezTo>
                  <a:cubicBezTo>
                    <a:pt x="126" y="0"/>
                    <a:pt x="126" y="0"/>
                    <a:pt x="126" y="0"/>
                  </a:cubicBezTo>
                  <a:cubicBezTo>
                    <a:pt x="139" y="0"/>
                    <a:pt x="144" y="6"/>
                    <a:pt x="144" y="19"/>
                  </a:cubicBezTo>
                  <a:cubicBezTo>
                    <a:pt x="144" y="59"/>
                    <a:pt x="144" y="59"/>
                    <a:pt x="144" y="59"/>
                  </a:cubicBezTo>
                </a:path>
              </a:pathLst>
            </a:custGeom>
            <a:noFill/>
            <a:ln w="12700" cap="rnd">
              <a:solidFill>
                <a:srgbClr val="404955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srgbClr val="404955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95" name="Line 793">
              <a:extLst>
                <a:ext uri="{FF2B5EF4-FFF2-40B4-BE49-F238E27FC236}">
                  <a16:creationId xmlns:a16="http://schemas.microsoft.com/office/drawing/2014/main" id="{4D064407-0E70-EE30-7D07-4C1E7689D61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906588" y="5354638"/>
              <a:ext cx="457200" cy="0"/>
            </a:xfrm>
            <a:prstGeom prst="line">
              <a:avLst/>
            </a:prstGeom>
            <a:noFill/>
            <a:ln w="12700" cap="rnd">
              <a:solidFill>
                <a:srgbClr val="404955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srgbClr val="404955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96" name="Line 794">
              <a:extLst>
                <a:ext uri="{FF2B5EF4-FFF2-40B4-BE49-F238E27FC236}">
                  <a16:creationId xmlns:a16="http://schemas.microsoft.com/office/drawing/2014/main" id="{2E1102A8-2853-5D29-6FE3-6547B0051C6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125663" y="5316538"/>
              <a:ext cx="19050" cy="0"/>
            </a:xfrm>
            <a:prstGeom prst="line">
              <a:avLst/>
            </a:prstGeom>
            <a:noFill/>
            <a:ln w="12700" cap="rnd">
              <a:solidFill>
                <a:srgbClr val="404955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srgbClr val="404955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97" name="Line 795">
              <a:extLst>
                <a:ext uri="{FF2B5EF4-FFF2-40B4-BE49-F238E27FC236}">
                  <a16:creationId xmlns:a16="http://schemas.microsoft.com/office/drawing/2014/main" id="{3C23D5E6-037B-5784-1B06-FC7BA0C74F8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906588" y="5853113"/>
              <a:ext cx="219075" cy="0"/>
            </a:xfrm>
            <a:prstGeom prst="line">
              <a:avLst/>
            </a:prstGeom>
            <a:noFill/>
            <a:ln w="12700" cap="rnd">
              <a:solidFill>
                <a:srgbClr val="404955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srgbClr val="404955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98" name="Freeform 796">
              <a:extLst>
                <a:ext uri="{FF2B5EF4-FFF2-40B4-BE49-F238E27FC236}">
                  <a16:creationId xmlns:a16="http://schemas.microsoft.com/office/drawing/2014/main" id="{8073E163-CDEC-27E7-80C3-898CA8A7E97D}"/>
                </a:ext>
              </a:extLst>
            </p:cNvPr>
            <p:cNvSpPr>
              <a:spLocks/>
            </p:cNvSpPr>
            <p:nvPr/>
          </p:nvSpPr>
          <p:spPr bwMode="auto">
            <a:xfrm>
              <a:off x="2087563" y="5500688"/>
              <a:ext cx="419100" cy="361950"/>
            </a:xfrm>
            <a:custGeom>
              <a:avLst/>
              <a:gdLst>
                <a:gd name="T0" fmla="*/ 116 w 132"/>
                <a:gd name="T1" fmla="*/ 85 h 114"/>
                <a:gd name="T2" fmla="*/ 123 w 132"/>
                <a:gd name="T3" fmla="*/ 45 h 114"/>
                <a:gd name="T4" fmla="*/ 99 w 132"/>
                <a:gd name="T5" fmla="*/ 11 h 114"/>
                <a:gd name="T6" fmla="*/ 85 w 132"/>
                <a:gd name="T7" fmla="*/ 9 h 114"/>
                <a:gd name="T8" fmla="*/ 85 w 132"/>
                <a:gd name="T9" fmla="*/ 9 h 114"/>
                <a:gd name="T10" fmla="*/ 83 w 132"/>
                <a:gd name="T11" fmla="*/ 23 h 114"/>
                <a:gd name="T12" fmla="*/ 87 w 132"/>
                <a:gd name="T13" fmla="*/ 29 h 114"/>
                <a:gd name="T14" fmla="*/ 79 w 132"/>
                <a:gd name="T15" fmla="*/ 17 h 114"/>
                <a:gd name="T16" fmla="*/ 64 w 132"/>
                <a:gd name="T17" fmla="*/ 15 h 114"/>
                <a:gd name="T18" fmla="*/ 64 w 132"/>
                <a:gd name="T19" fmla="*/ 15 h 114"/>
                <a:gd name="T20" fmla="*/ 62 w 132"/>
                <a:gd name="T21" fmla="*/ 29 h 114"/>
                <a:gd name="T22" fmla="*/ 68 w 132"/>
                <a:gd name="T23" fmla="*/ 38 h 114"/>
                <a:gd name="T24" fmla="*/ 59 w 132"/>
                <a:gd name="T25" fmla="*/ 25 h 114"/>
                <a:gd name="T26" fmla="*/ 45 w 132"/>
                <a:gd name="T27" fmla="*/ 23 h 114"/>
                <a:gd name="T28" fmla="*/ 45 w 132"/>
                <a:gd name="T29" fmla="*/ 23 h 114"/>
                <a:gd name="T30" fmla="*/ 43 w 132"/>
                <a:gd name="T31" fmla="*/ 37 h 114"/>
                <a:gd name="T32" fmla="*/ 52 w 132"/>
                <a:gd name="T33" fmla="*/ 50 h 114"/>
                <a:gd name="T34" fmla="*/ 20 w 132"/>
                <a:gd name="T35" fmla="*/ 5 h 114"/>
                <a:gd name="T36" fmla="*/ 6 w 132"/>
                <a:gd name="T37" fmla="*/ 3 h 114"/>
                <a:gd name="T38" fmla="*/ 6 w 132"/>
                <a:gd name="T39" fmla="*/ 3 h 114"/>
                <a:gd name="T40" fmla="*/ 3 w 132"/>
                <a:gd name="T41" fmla="*/ 17 h 114"/>
                <a:gd name="T42" fmla="*/ 42 w 132"/>
                <a:gd name="T43" fmla="*/ 72 h 114"/>
                <a:gd name="T44" fmla="*/ 27 w 132"/>
                <a:gd name="T45" fmla="*/ 50 h 114"/>
                <a:gd name="T46" fmla="*/ 23 w 132"/>
                <a:gd name="T47" fmla="*/ 88 h 114"/>
                <a:gd name="T48" fmla="*/ 28 w 132"/>
                <a:gd name="T49" fmla="*/ 95 h 114"/>
                <a:gd name="T50" fmla="*/ 50 w 132"/>
                <a:gd name="T51" fmla="*/ 107 h 114"/>
                <a:gd name="T52" fmla="*/ 85 w 132"/>
                <a:gd name="T53" fmla="*/ 107 h 114"/>
                <a:gd name="T54" fmla="*/ 116 w 132"/>
                <a:gd name="T55" fmla="*/ 85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32" h="114">
                  <a:moveTo>
                    <a:pt x="116" y="85"/>
                  </a:moveTo>
                  <a:cubicBezTo>
                    <a:pt x="129" y="76"/>
                    <a:pt x="132" y="58"/>
                    <a:pt x="123" y="45"/>
                  </a:cubicBezTo>
                  <a:cubicBezTo>
                    <a:pt x="99" y="11"/>
                    <a:pt x="99" y="11"/>
                    <a:pt x="99" y="11"/>
                  </a:cubicBezTo>
                  <a:cubicBezTo>
                    <a:pt x="96" y="7"/>
                    <a:pt x="90" y="6"/>
                    <a:pt x="85" y="9"/>
                  </a:cubicBezTo>
                  <a:cubicBezTo>
                    <a:pt x="85" y="9"/>
                    <a:pt x="85" y="9"/>
                    <a:pt x="85" y="9"/>
                  </a:cubicBezTo>
                  <a:cubicBezTo>
                    <a:pt x="81" y="12"/>
                    <a:pt x="79" y="19"/>
                    <a:pt x="83" y="23"/>
                  </a:cubicBezTo>
                  <a:cubicBezTo>
                    <a:pt x="87" y="29"/>
                    <a:pt x="87" y="29"/>
                    <a:pt x="87" y="29"/>
                  </a:cubicBezTo>
                  <a:cubicBezTo>
                    <a:pt x="79" y="17"/>
                    <a:pt x="79" y="17"/>
                    <a:pt x="79" y="17"/>
                  </a:cubicBezTo>
                  <a:cubicBezTo>
                    <a:pt x="75" y="13"/>
                    <a:pt x="69" y="12"/>
                    <a:pt x="64" y="15"/>
                  </a:cubicBezTo>
                  <a:cubicBezTo>
                    <a:pt x="64" y="15"/>
                    <a:pt x="64" y="15"/>
                    <a:pt x="64" y="15"/>
                  </a:cubicBezTo>
                  <a:cubicBezTo>
                    <a:pt x="60" y="18"/>
                    <a:pt x="59" y="25"/>
                    <a:pt x="62" y="29"/>
                  </a:cubicBezTo>
                  <a:cubicBezTo>
                    <a:pt x="68" y="38"/>
                    <a:pt x="68" y="38"/>
                    <a:pt x="68" y="38"/>
                  </a:cubicBezTo>
                  <a:cubicBezTo>
                    <a:pt x="59" y="25"/>
                    <a:pt x="59" y="25"/>
                    <a:pt x="59" y="25"/>
                  </a:cubicBezTo>
                  <a:cubicBezTo>
                    <a:pt x="56" y="21"/>
                    <a:pt x="50" y="20"/>
                    <a:pt x="45" y="23"/>
                  </a:cubicBezTo>
                  <a:cubicBezTo>
                    <a:pt x="45" y="23"/>
                    <a:pt x="45" y="23"/>
                    <a:pt x="45" y="23"/>
                  </a:cubicBezTo>
                  <a:cubicBezTo>
                    <a:pt x="40" y="26"/>
                    <a:pt x="39" y="33"/>
                    <a:pt x="43" y="37"/>
                  </a:cubicBezTo>
                  <a:cubicBezTo>
                    <a:pt x="52" y="50"/>
                    <a:pt x="52" y="50"/>
                    <a:pt x="52" y="50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17" y="1"/>
                    <a:pt x="10" y="0"/>
                    <a:pt x="6" y="3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1" y="6"/>
                    <a:pt x="0" y="12"/>
                    <a:pt x="3" y="17"/>
                  </a:cubicBezTo>
                  <a:cubicBezTo>
                    <a:pt x="42" y="72"/>
                    <a:pt x="42" y="72"/>
                    <a:pt x="42" y="72"/>
                  </a:cubicBezTo>
                  <a:cubicBezTo>
                    <a:pt x="27" y="50"/>
                    <a:pt x="27" y="50"/>
                    <a:pt x="27" y="50"/>
                  </a:cubicBezTo>
                  <a:cubicBezTo>
                    <a:pt x="27" y="50"/>
                    <a:pt x="17" y="79"/>
                    <a:pt x="23" y="88"/>
                  </a:cubicBezTo>
                  <a:cubicBezTo>
                    <a:pt x="26" y="92"/>
                    <a:pt x="25" y="90"/>
                    <a:pt x="28" y="95"/>
                  </a:cubicBezTo>
                  <a:cubicBezTo>
                    <a:pt x="31" y="99"/>
                    <a:pt x="39" y="105"/>
                    <a:pt x="50" y="107"/>
                  </a:cubicBezTo>
                  <a:cubicBezTo>
                    <a:pt x="63" y="110"/>
                    <a:pt x="76" y="114"/>
                    <a:pt x="85" y="107"/>
                  </a:cubicBezTo>
                  <a:lnTo>
                    <a:pt x="116" y="85"/>
                  </a:lnTo>
                  <a:close/>
                </a:path>
              </a:pathLst>
            </a:custGeom>
            <a:noFill/>
            <a:ln w="12700" cap="rnd">
              <a:solidFill>
                <a:srgbClr val="D93317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srgbClr val="404955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99" name="Freeform 797">
              <a:extLst>
                <a:ext uri="{FF2B5EF4-FFF2-40B4-BE49-F238E27FC236}">
                  <a16:creationId xmlns:a16="http://schemas.microsoft.com/office/drawing/2014/main" id="{3274663E-6356-8D48-D004-7774BCACF26C}"/>
                </a:ext>
              </a:extLst>
            </p:cNvPr>
            <p:cNvSpPr>
              <a:spLocks/>
            </p:cNvSpPr>
            <p:nvPr/>
          </p:nvSpPr>
          <p:spPr bwMode="auto">
            <a:xfrm>
              <a:off x="2325688" y="5738813"/>
              <a:ext cx="225425" cy="187325"/>
            </a:xfrm>
            <a:custGeom>
              <a:avLst/>
              <a:gdLst>
                <a:gd name="T0" fmla="*/ 52 w 71"/>
                <a:gd name="T1" fmla="*/ 2 h 59"/>
                <a:gd name="T2" fmla="*/ 4 w 71"/>
                <a:gd name="T3" fmla="*/ 36 h 59"/>
                <a:gd name="T4" fmla="*/ 2 w 71"/>
                <a:gd name="T5" fmla="*/ 48 h 59"/>
                <a:gd name="T6" fmla="*/ 7 w 71"/>
                <a:gd name="T7" fmla="*/ 55 h 59"/>
                <a:gd name="T8" fmla="*/ 19 w 71"/>
                <a:gd name="T9" fmla="*/ 57 h 59"/>
                <a:gd name="T10" fmla="*/ 67 w 71"/>
                <a:gd name="T11" fmla="*/ 23 h 59"/>
                <a:gd name="T12" fmla="*/ 69 w 71"/>
                <a:gd name="T13" fmla="*/ 11 h 59"/>
                <a:gd name="T14" fmla="*/ 64 w 71"/>
                <a:gd name="T15" fmla="*/ 4 h 59"/>
                <a:gd name="T16" fmla="*/ 52 w 71"/>
                <a:gd name="T17" fmla="*/ 2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1" h="59">
                  <a:moveTo>
                    <a:pt x="52" y="2"/>
                  </a:moveTo>
                  <a:cubicBezTo>
                    <a:pt x="4" y="36"/>
                    <a:pt x="4" y="36"/>
                    <a:pt x="4" y="36"/>
                  </a:cubicBezTo>
                  <a:cubicBezTo>
                    <a:pt x="1" y="39"/>
                    <a:pt x="0" y="44"/>
                    <a:pt x="2" y="48"/>
                  </a:cubicBezTo>
                  <a:cubicBezTo>
                    <a:pt x="7" y="55"/>
                    <a:pt x="7" y="55"/>
                    <a:pt x="7" y="55"/>
                  </a:cubicBezTo>
                  <a:cubicBezTo>
                    <a:pt x="10" y="58"/>
                    <a:pt x="15" y="59"/>
                    <a:pt x="19" y="57"/>
                  </a:cubicBezTo>
                  <a:cubicBezTo>
                    <a:pt x="67" y="23"/>
                    <a:pt x="67" y="23"/>
                    <a:pt x="67" y="23"/>
                  </a:cubicBezTo>
                  <a:cubicBezTo>
                    <a:pt x="70" y="20"/>
                    <a:pt x="71" y="15"/>
                    <a:pt x="69" y="11"/>
                  </a:cubicBezTo>
                  <a:cubicBezTo>
                    <a:pt x="64" y="4"/>
                    <a:pt x="64" y="4"/>
                    <a:pt x="64" y="4"/>
                  </a:cubicBezTo>
                  <a:cubicBezTo>
                    <a:pt x="61" y="0"/>
                    <a:pt x="56" y="0"/>
                    <a:pt x="52" y="2"/>
                  </a:cubicBezTo>
                  <a:close/>
                </a:path>
              </a:pathLst>
            </a:custGeom>
            <a:noFill/>
            <a:ln w="12700" cap="rnd">
              <a:solidFill>
                <a:srgbClr val="D93317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srgbClr val="404955"/>
                </a:solidFill>
                <a:effectLst/>
                <a:uLnTx/>
                <a:uFillTx/>
                <a:latin typeface="Arial"/>
              </a:endParaRPr>
            </a:p>
          </p:txBody>
        </p:sp>
      </p:grpSp>
      <p:grpSp>
        <p:nvGrpSpPr>
          <p:cNvPr id="107" name="Gruppieren 115">
            <a:extLst>
              <a:ext uri="{FF2B5EF4-FFF2-40B4-BE49-F238E27FC236}">
                <a16:creationId xmlns:a16="http://schemas.microsoft.com/office/drawing/2014/main" id="{899CE465-B2C5-D536-D9C1-30CE4FA915FC}"/>
              </a:ext>
            </a:extLst>
          </p:cNvPr>
          <p:cNvGrpSpPr>
            <a:grpSpLocks noChangeAspect="1"/>
          </p:cNvGrpSpPr>
          <p:nvPr/>
        </p:nvGrpSpPr>
        <p:grpSpPr>
          <a:xfrm>
            <a:off x="8351903" y="2225812"/>
            <a:ext cx="380528" cy="284672"/>
            <a:chOff x="4465477" y="2076857"/>
            <a:chExt cx="653679" cy="489019"/>
          </a:xfrm>
        </p:grpSpPr>
        <p:sp>
          <p:nvSpPr>
            <p:cNvPr id="108" name="Rechteck: abgerundete Ecken 116">
              <a:extLst>
                <a:ext uri="{FF2B5EF4-FFF2-40B4-BE49-F238E27FC236}">
                  <a16:creationId xmlns:a16="http://schemas.microsoft.com/office/drawing/2014/main" id="{3A2CAD79-CF16-14DA-0B14-9FFB5F3D0ABA}"/>
                </a:ext>
              </a:extLst>
            </p:cNvPr>
            <p:cNvSpPr/>
            <p:nvPr/>
          </p:nvSpPr>
          <p:spPr>
            <a:xfrm>
              <a:off x="4465477" y="2338765"/>
              <a:ext cx="117595" cy="203167"/>
            </a:xfrm>
            <a:prstGeom prst="roundRect">
              <a:avLst/>
            </a:prstGeom>
            <a:noFill/>
            <a:ln w="12700" cap="flat">
              <a:solidFill>
                <a:schemeClr val="tx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</a:bodyPr>
            <a:lstStyle/>
            <a:p>
              <a:endParaRPr lang="en-GB" kern="0" dirty="0">
                <a:solidFill>
                  <a:srgbClr val="404955"/>
                </a:solidFill>
                <a:latin typeface="Arial"/>
              </a:endParaRPr>
            </a:p>
          </p:txBody>
        </p:sp>
        <p:sp>
          <p:nvSpPr>
            <p:cNvPr id="109" name="Freihandform: Form 117">
              <a:extLst>
                <a:ext uri="{FF2B5EF4-FFF2-40B4-BE49-F238E27FC236}">
                  <a16:creationId xmlns:a16="http://schemas.microsoft.com/office/drawing/2014/main" id="{39A37F9D-6EF5-B75F-069C-6314863870B5}"/>
                </a:ext>
              </a:extLst>
            </p:cNvPr>
            <p:cNvSpPr/>
            <p:nvPr/>
          </p:nvSpPr>
          <p:spPr>
            <a:xfrm>
              <a:off x="4587054" y="2372329"/>
              <a:ext cx="532102" cy="193547"/>
            </a:xfrm>
            <a:custGeom>
              <a:avLst/>
              <a:gdLst>
                <a:gd name="connsiteX0" fmla="*/ 25400 w 4254500"/>
                <a:gd name="connsiteY0" fmla="*/ 0 h 2076450"/>
                <a:gd name="connsiteX1" fmla="*/ 615950 w 4254500"/>
                <a:gd name="connsiteY1" fmla="*/ 0 h 2076450"/>
                <a:gd name="connsiteX2" fmla="*/ 1085850 w 4254500"/>
                <a:gd name="connsiteY2" fmla="*/ 285750 h 2076450"/>
                <a:gd name="connsiteX3" fmla="*/ 2051050 w 4254500"/>
                <a:gd name="connsiteY3" fmla="*/ 285750 h 2076450"/>
                <a:gd name="connsiteX4" fmla="*/ 2051050 w 4254500"/>
                <a:gd name="connsiteY4" fmla="*/ 952500 h 2076450"/>
                <a:gd name="connsiteX5" fmla="*/ 1225550 w 4254500"/>
                <a:gd name="connsiteY5" fmla="*/ 952500 h 2076450"/>
                <a:gd name="connsiteX6" fmla="*/ 2051050 w 4254500"/>
                <a:gd name="connsiteY6" fmla="*/ 952500 h 2076450"/>
                <a:gd name="connsiteX7" fmla="*/ 4038600 w 4254500"/>
                <a:gd name="connsiteY7" fmla="*/ 152400 h 2076450"/>
                <a:gd name="connsiteX8" fmla="*/ 4254500 w 4254500"/>
                <a:gd name="connsiteY8" fmla="*/ 584200 h 2076450"/>
                <a:gd name="connsiteX9" fmla="*/ 1581150 w 4254500"/>
                <a:gd name="connsiteY9" fmla="*/ 2076450 h 2076450"/>
                <a:gd name="connsiteX10" fmla="*/ 0 w 4254500"/>
                <a:gd name="connsiteY10" fmla="*/ 1473200 h 2076450"/>
                <a:gd name="connsiteX11" fmla="*/ 25400 w 4254500"/>
                <a:gd name="connsiteY11" fmla="*/ 0 h 2076450"/>
                <a:gd name="connsiteX0" fmla="*/ 0 w 4254500"/>
                <a:gd name="connsiteY0" fmla="*/ 0 h 2076450"/>
                <a:gd name="connsiteX1" fmla="*/ 615950 w 4254500"/>
                <a:gd name="connsiteY1" fmla="*/ 0 h 2076450"/>
                <a:gd name="connsiteX2" fmla="*/ 1085850 w 4254500"/>
                <a:gd name="connsiteY2" fmla="*/ 285750 h 2076450"/>
                <a:gd name="connsiteX3" fmla="*/ 2051050 w 4254500"/>
                <a:gd name="connsiteY3" fmla="*/ 285750 h 2076450"/>
                <a:gd name="connsiteX4" fmla="*/ 2051050 w 4254500"/>
                <a:gd name="connsiteY4" fmla="*/ 952500 h 2076450"/>
                <a:gd name="connsiteX5" fmla="*/ 1225550 w 4254500"/>
                <a:gd name="connsiteY5" fmla="*/ 952500 h 2076450"/>
                <a:gd name="connsiteX6" fmla="*/ 2051050 w 4254500"/>
                <a:gd name="connsiteY6" fmla="*/ 952500 h 2076450"/>
                <a:gd name="connsiteX7" fmla="*/ 4038600 w 4254500"/>
                <a:gd name="connsiteY7" fmla="*/ 152400 h 2076450"/>
                <a:gd name="connsiteX8" fmla="*/ 4254500 w 4254500"/>
                <a:gd name="connsiteY8" fmla="*/ 584200 h 2076450"/>
                <a:gd name="connsiteX9" fmla="*/ 1581150 w 4254500"/>
                <a:gd name="connsiteY9" fmla="*/ 2076450 h 2076450"/>
                <a:gd name="connsiteX10" fmla="*/ 0 w 4254500"/>
                <a:gd name="connsiteY10" fmla="*/ 1473200 h 2076450"/>
                <a:gd name="connsiteX11" fmla="*/ 0 w 4254500"/>
                <a:gd name="connsiteY11" fmla="*/ 0 h 2076450"/>
                <a:gd name="connsiteX0" fmla="*/ 0 w 4254500"/>
                <a:gd name="connsiteY0" fmla="*/ 120500 h 2196950"/>
                <a:gd name="connsiteX1" fmla="*/ 615950 w 4254500"/>
                <a:gd name="connsiteY1" fmla="*/ 120500 h 2196950"/>
                <a:gd name="connsiteX2" fmla="*/ 1085850 w 4254500"/>
                <a:gd name="connsiteY2" fmla="*/ 406250 h 2196950"/>
                <a:gd name="connsiteX3" fmla="*/ 2051050 w 4254500"/>
                <a:gd name="connsiteY3" fmla="*/ 406250 h 2196950"/>
                <a:gd name="connsiteX4" fmla="*/ 2051050 w 4254500"/>
                <a:gd name="connsiteY4" fmla="*/ 1073000 h 2196950"/>
                <a:gd name="connsiteX5" fmla="*/ 1225550 w 4254500"/>
                <a:gd name="connsiteY5" fmla="*/ 1073000 h 2196950"/>
                <a:gd name="connsiteX6" fmla="*/ 2051050 w 4254500"/>
                <a:gd name="connsiteY6" fmla="*/ 1073000 h 2196950"/>
                <a:gd name="connsiteX7" fmla="*/ 4038600 w 4254500"/>
                <a:gd name="connsiteY7" fmla="*/ 272900 h 2196950"/>
                <a:gd name="connsiteX8" fmla="*/ 4254500 w 4254500"/>
                <a:gd name="connsiteY8" fmla="*/ 704700 h 2196950"/>
                <a:gd name="connsiteX9" fmla="*/ 1581150 w 4254500"/>
                <a:gd name="connsiteY9" fmla="*/ 2196950 h 2196950"/>
                <a:gd name="connsiteX10" fmla="*/ 0 w 4254500"/>
                <a:gd name="connsiteY10" fmla="*/ 1593700 h 2196950"/>
                <a:gd name="connsiteX11" fmla="*/ 0 w 4254500"/>
                <a:gd name="connsiteY11" fmla="*/ 120500 h 2196950"/>
                <a:gd name="connsiteX0" fmla="*/ 0 w 4254500"/>
                <a:gd name="connsiteY0" fmla="*/ 0 h 2076450"/>
                <a:gd name="connsiteX1" fmla="*/ 615950 w 4254500"/>
                <a:gd name="connsiteY1" fmla="*/ 0 h 2076450"/>
                <a:gd name="connsiteX2" fmla="*/ 1085850 w 4254500"/>
                <a:gd name="connsiteY2" fmla="*/ 285750 h 2076450"/>
                <a:gd name="connsiteX3" fmla="*/ 2051050 w 4254500"/>
                <a:gd name="connsiteY3" fmla="*/ 285750 h 2076450"/>
                <a:gd name="connsiteX4" fmla="*/ 2051050 w 4254500"/>
                <a:gd name="connsiteY4" fmla="*/ 952500 h 2076450"/>
                <a:gd name="connsiteX5" fmla="*/ 1225550 w 4254500"/>
                <a:gd name="connsiteY5" fmla="*/ 952500 h 2076450"/>
                <a:gd name="connsiteX6" fmla="*/ 2051050 w 4254500"/>
                <a:gd name="connsiteY6" fmla="*/ 952500 h 2076450"/>
                <a:gd name="connsiteX7" fmla="*/ 4038600 w 4254500"/>
                <a:gd name="connsiteY7" fmla="*/ 152400 h 2076450"/>
                <a:gd name="connsiteX8" fmla="*/ 4254500 w 4254500"/>
                <a:gd name="connsiteY8" fmla="*/ 584200 h 2076450"/>
                <a:gd name="connsiteX9" fmla="*/ 1581150 w 4254500"/>
                <a:gd name="connsiteY9" fmla="*/ 2076450 h 2076450"/>
                <a:gd name="connsiteX10" fmla="*/ 0 w 4254500"/>
                <a:gd name="connsiteY10" fmla="*/ 1473200 h 2076450"/>
                <a:gd name="connsiteX11" fmla="*/ 0 w 4254500"/>
                <a:gd name="connsiteY11" fmla="*/ 0 h 2076450"/>
                <a:gd name="connsiteX0" fmla="*/ 0 w 4254500"/>
                <a:gd name="connsiteY0" fmla="*/ 0 h 2076450"/>
                <a:gd name="connsiteX1" fmla="*/ 615950 w 4254500"/>
                <a:gd name="connsiteY1" fmla="*/ 0 h 2076450"/>
                <a:gd name="connsiteX2" fmla="*/ 1085850 w 4254500"/>
                <a:gd name="connsiteY2" fmla="*/ 285750 h 2076450"/>
                <a:gd name="connsiteX3" fmla="*/ 2051050 w 4254500"/>
                <a:gd name="connsiteY3" fmla="*/ 285750 h 2076450"/>
                <a:gd name="connsiteX4" fmla="*/ 2051050 w 4254500"/>
                <a:gd name="connsiteY4" fmla="*/ 952500 h 2076450"/>
                <a:gd name="connsiteX5" fmla="*/ 1225550 w 4254500"/>
                <a:gd name="connsiteY5" fmla="*/ 952500 h 2076450"/>
                <a:gd name="connsiteX6" fmla="*/ 2051050 w 4254500"/>
                <a:gd name="connsiteY6" fmla="*/ 952500 h 2076450"/>
                <a:gd name="connsiteX7" fmla="*/ 4038600 w 4254500"/>
                <a:gd name="connsiteY7" fmla="*/ 152400 h 2076450"/>
                <a:gd name="connsiteX8" fmla="*/ 4254500 w 4254500"/>
                <a:gd name="connsiteY8" fmla="*/ 584200 h 2076450"/>
                <a:gd name="connsiteX9" fmla="*/ 1581150 w 4254500"/>
                <a:gd name="connsiteY9" fmla="*/ 2076450 h 2076450"/>
                <a:gd name="connsiteX10" fmla="*/ 0 w 4254500"/>
                <a:gd name="connsiteY10" fmla="*/ 1473200 h 2076450"/>
                <a:gd name="connsiteX11" fmla="*/ 0 w 4254500"/>
                <a:gd name="connsiteY11" fmla="*/ 0 h 2076450"/>
                <a:gd name="connsiteX0" fmla="*/ 0 w 4254500"/>
                <a:gd name="connsiteY0" fmla="*/ 0 h 2076450"/>
                <a:gd name="connsiteX1" fmla="*/ 615950 w 4254500"/>
                <a:gd name="connsiteY1" fmla="*/ 0 h 2076450"/>
                <a:gd name="connsiteX2" fmla="*/ 1085850 w 4254500"/>
                <a:gd name="connsiteY2" fmla="*/ 285750 h 2076450"/>
                <a:gd name="connsiteX3" fmla="*/ 2051050 w 4254500"/>
                <a:gd name="connsiteY3" fmla="*/ 285750 h 2076450"/>
                <a:gd name="connsiteX4" fmla="*/ 2051050 w 4254500"/>
                <a:gd name="connsiteY4" fmla="*/ 952500 h 2076450"/>
                <a:gd name="connsiteX5" fmla="*/ 1225550 w 4254500"/>
                <a:gd name="connsiteY5" fmla="*/ 952500 h 2076450"/>
                <a:gd name="connsiteX6" fmla="*/ 2051050 w 4254500"/>
                <a:gd name="connsiteY6" fmla="*/ 952500 h 2076450"/>
                <a:gd name="connsiteX7" fmla="*/ 4038600 w 4254500"/>
                <a:gd name="connsiteY7" fmla="*/ 152400 h 2076450"/>
                <a:gd name="connsiteX8" fmla="*/ 4254500 w 4254500"/>
                <a:gd name="connsiteY8" fmla="*/ 584200 h 2076450"/>
                <a:gd name="connsiteX9" fmla="*/ 1581150 w 4254500"/>
                <a:gd name="connsiteY9" fmla="*/ 2076450 h 2076450"/>
                <a:gd name="connsiteX10" fmla="*/ 0 w 4254500"/>
                <a:gd name="connsiteY10" fmla="*/ 1473200 h 2076450"/>
                <a:gd name="connsiteX11" fmla="*/ 0 w 4254500"/>
                <a:gd name="connsiteY11" fmla="*/ 0 h 2076450"/>
                <a:gd name="connsiteX0" fmla="*/ 0 w 4254500"/>
                <a:gd name="connsiteY0" fmla="*/ 0 h 2076450"/>
                <a:gd name="connsiteX1" fmla="*/ 615950 w 4254500"/>
                <a:gd name="connsiteY1" fmla="*/ 0 h 2076450"/>
                <a:gd name="connsiteX2" fmla="*/ 1085850 w 4254500"/>
                <a:gd name="connsiteY2" fmla="*/ 285750 h 2076450"/>
                <a:gd name="connsiteX3" fmla="*/ 2051050 w 4254500"/>
                <a:gd name="connsiteY3" fmla="*/ 285750 h 2076450"/>
                <a:gd name="connsiteX4" fmla="*/ 2051050 w 4254500"/>
                <a:gd name="connsiteY4" fmla="*/ 952500 h 2076450"/>
                <a:gd name="connsiteX5" fmla="*/ 1225550 w 4254500"/>
                <a:gd name="connsiteY5" fmla="*/ 952500 h 2076450"/>
                <a:gd name="connsiteX6" fmla="*/ 2051050 w 4254500"/>
                <a:gd name="connsiteY6" fmla="*/ 952500 h 2076450"/>
                <a:gd name="connsiteX7" fmla="*/ 4038600 w 4254500"/>
                <a:gd name="connsiteY7" fmla="*/ 152400 h 2076450"/>
                <a:gd name="connsiteX8" fmla="*/ 4254500 w 4254500"/>
                <a:gd name="connsiteY8" fmla="*/ 584200 h 2076450"/>
                <a:gd name="connsiteX9" fmla="*/ 1581150 w 4254500"/>
                <a:gd name="connsiteY9" fmla="*/ 2076450 h 2076450"/>
                <a:gd name="connsiteX10" fmla="*/ 0 w 4254500"/>
                <a:gd name="connsiteY10" fmla="*/ 1473200 h 2076450"/>
                <a:gd name="connsiteX11" fmla="*/ 0 w 4254500"/>
                <a:gd name="connsiteY11" fmla="*/ 0 h 2076450"/>
                <a:gd name="connsiteX0" fmla="*/ 0 w 4254500"/>
                <a:gd name="connsiteY0" fmla="*/ 0 h 2076450"/>
                <a:gd name="connsiteX1" fmla="*/ 615950 w 4254500"/>
                <a:gd name="connsiteY1" fmla="*/ 0 h 2076450"/>
                <a:gd name="connsiteX2" fmla="*/ 1085850 w 4254500"/>
                <a:gd name="connsiteY2" fmla="*/ 285750 h 2076450"/>
                <a:gd name="connsiteX3" fmla="*/ 2051050 w 4254500"/>
                <a:gd name="connsiteY3" fmla="*/ 285750 h 2076450"/>
                <a:gd name="connsiteX4" fmla="*/ 2051050 w 4254500"/>
                <a:gd name="connsiteY4" fmla="*/ 952500 h 2076450"/>
                <a:gd name="connsiteX5" fmla="*/ 1225550 w 4254500"/>
                <a:gd name="connsiteY5" fmla="*/ 952500 h 2076450"/>
                <a:gd name="connsiteX6" fmla="*/ 2051050 w 4254500"/>
                <a:gd name="connsiteY6" fmla="*/ 952500 h 2076450"/>
                <a:gd name="connsiteX7" fmla="*/ 4038600 w 4254500"/>
                <a:gd name="connsiteY7" fmla="*/ 152400 h 2076450"/>
                <a:gd name="connsiteX8" fmla="*/ 4254500 w 4254500"/>
                <a:gd name="connsiteY8" fmla="*/ 584200 h 2076450"/>
                <a:gd name="connsiteX9" fmla="*/ 1581150 w 4254500"/>
                <a:gd name="connsiteY9" fmla="*/ 2076450 h 2076450"/>
                <a:gd name="connsiteX10" fmla="*/ 0 w 4254500"/>
                <a:gd name="connsiteY10" fmla="*/ 1473200 h 2076450"/>
                <a:gd name="connsiteX11" fmla="*/ 0 w 4254500"/>
                <a:gd name="connsiteY11" fmla="*/ 0 h 2076450"/>
                <a:gd name="connsiteX0" fmla="*/ 0 w 4254500"/>
                <a:gd name="connsiteY0" fmla="*/ 0 h 2076450"/>
                <a:gd name="connsiteX1" fmla="*/ 615950 w 4254500"/>
                <a:gd name="connsiteY1" fmla="*/ 0 h 2076450"/>
                <a:gd name="connsiteX2" fmla="*/ 1085850 w 4254500"/>
                <a:gd name="connsiteY2" fmla="*/ 285750 h 2076450"/>
                <a:gd name="connsiteX3" fmla="*/ 2051050 w 4254500"/>
                <a:gd name="connsiteY3" fmla="*/ 285750 h 2076450"/>
                <a:gd name="connsiteX4" fmla="*/ 2051050 w 4254500"/>
                <a:gd name="connsiteY4" fmla="*/ 952500 h 2076450"/>
                <a:gd name="connsiteX5" fmla="*/ 1225550 w 4254500"/>
                <a:gd name="connsiteY5" fmla="*/ 952500 h 2076450"/>
                <a:gd name="connsiteX6" fmla="*/ 2051050 w 4254500"/>
                <a:gd name="connsiteY6" fmla="*/ 952500 h 2076450"/>
                <a:gd name="connsiteX7" fmla="*/ 4038600 w 4254500"/>
                <a:gd name="connsiteY7" fmla="*/ 152400 h 2076450"/>
                <a:gd name="connsiteX8" fmla="*/ 4254500 w 4254500"/>
                <a:gd name="connsiteY8" fmla="*/ 584200 h 2076450"/>
                <a:gd name="connsiteX9" fmla="*/ 1581150 w 4254500"/>
                <a:gd name="connsiteY9" fmla="*/ 2076450 h 2076450"/>
                <a:gd name="connsiteX10" fmla="*/ 0 w 4254500"/>
                <a:gd name="connsiteY10" fmla="*/ 1473200 h 2076450"/>
                <a:gd name="connsiteX11" fmla="*/ 0 w 4254500"/>
                <a:gd name="connsiteY11" fmla="*/ 0 h 2076450"/>
                <a:gd name="connsiteX0" fmla="*/ 0 w 4295510"/>
                <a:gd name="connsiteY0" fmla="*/ 0 h 2076450"/>
                <a:gd name="connsiteX1" fmla="*/ 615950 w 4295510"/>
                <a:gd name="connsiteY1" fmla="*/ 0 h 2076450"/>
                <a:gd name="connsiteX2" fmla="*/ 1085850 w 4295510"/>
                <a:gd name="connsiteY2" fmla="*/ 285750 h 2076450"/>
                <a:gd name="connsiteX3" fmla="*/ 2051050 w 4295510"/>
                <a:gd name="connsiteY3" fmla="*/ 285750 h 2076450"/>
                <a:gd name="connsiteX4" fmla="*/ 2051050 w 4295510"/>
                <a:gd name="connsiteY4" fmla="*/ 952500 h 2076450"/>
                <a:gd name="connsiteX5" fmla="*/ 1225550 w 4295510"/>
                <a:gd name="connsiteY5" fmla="*/ 952500 h 2076450"/>
                <a:gd name="connsiteX6" fmla="*/ 2051050 w 4295510"/>
                <a:gd name="connsiteY6" fmla="*/ 952500 h 2076450"/>
                <a:gd name="connsiteX7" fmla="*/ 4038600 w 4295510"/>
                <a:gd name="connsiteY7" fmla="*/ 152400 h 2076450"/>
                <a:gd name="connsiteX8" fmla="*/ 4254500 w 4295510"/>
                <a:gd name="connsiteY8" fmla="*/ 584200 h 2076450"/>
                <a:gd name="connsiteX9" fmla="*/ 1581150 w 4295510"/>
                <a:gd name="connsiteY9" fmla="*/ 2076450 h 2076450"/>
                <a:gd name="connsiteX10" fmla="*/ 0 w 4295510"/>
                <a:gd name="connsiteY10" fmla="*/ 1473200 h 2076450"/>
                <a:gd name="connsiteX11" fmla="*/ 0 w 4295510"/>
                <a:gd name="connsiteY11" fmla="*/ 0 h 2076450"/>
                <a:gd name="connsiteX0" fmla="*/ 0 w 4291744"/>
                <a:gd name="connsiteY0" fmla="*/ 0 h 2076450"/>
                <a:gd name="connsiteX1" fmla="*/ 615950 w 4291744"/>
                <a:gd name="connsiteY1" fmla="*/ 0 h 2076450"/>
                <a:gd name="connsiteX2" fmla="*/ 1085850 w 4291744"/>
                <a:gd name="connsiteY2" fmla="*/ 285750 h 2076450"/>
                <a:gd name="connsiteX3" fmla="*/ 2051050 w 4291744"/>
                <a:gd name="connsiteY3" fmla="*/ 285750 h 2076450"/>
                <a:gd name="connsiteX4" fmla="*/ 2051050 w 4291744"/>
                <a:gd name="connsiteY4" fmla="*/ 952500 h 2076450"/>
                <a:gd name="connsiteX5" fmla="*/ 1225550 w 4291744"/>
                <a:gd name="connsiteY5" fmla="*/ 952500 h 2076450"/>
                <a:gd name="connsiteX6" fmla="*/ 2051050 w 4291744"/>
                <a:gd name="connsiteY6" fmla="*/ 952500 h 2076450"/>
                <a:gd name="connsiteX7" fmla="*/ 4038600 w 4291744"/>
                <a:gd name="connsiteY7" fmla="*/ 152400 h 2076450"/>
                <a:gd name="connsiteX8" fmla="*/ 4254500 w 4291744"/>
                <a:gd name="connsiteY8" fmla="*/ 584200 h 2076450"/>
                <a:gd name="connsiteX9" fmla="*/ 1581150 w 4291744"/>
                <a:gd name="connsiteY9" fmla="*/ 2076450 h 2076450"/>
                <a:gd name="connsiteX10" fmla="*/ 0 w 4291744"/>
                <a:gd name="connsiteY10" fmla="*/ 1473200 h 2076450"/>
                <a:gd name="connsiteX11" fmla="*/ 0 w 4291744"/>
                <a:gd name="connsiteY11" fmla="*/ 0 h 2076450"/>
                <a:gd name="connsiteX0" fmla="*/ 0 w 4311370"/>
                <a:gd name="connsiteY0" fmla="*/ 0 h 2076450"/>
                <a:gd name="connsiteX1" fmla="*/ 615950 w 4311370"/>
                <a:gd name="connsiteY1" fmla="*/ 0 h 2076450"/>
                <a:gd name="connsiteX2" fmla="*/ 1085850 w 4311370"/>
                <a:gd name="connsiteY2" fmla="*/ 285750 h 2076450"/>
                <a:gd name="connsiteX3" fmla="*/ 2051050 w 4311370"/>
                <a:gd name="connsiteY3" fmla="*/ 285750 h 2076450"/>
                <a:gd name="connsiteX4" fmla="*/ 2051050 w 4311370"/>
                <a:gd name="connsiteY4" fmla="*/ 952500 h 2076450"/>
                <a:gd name="connsiteX5" fmla="*/ 1225550 w 4311370"/>
                <a:gd name="connsiteY5" fmla="*/ 952500 h 2076450"/>
                <a:gd name="connsiteX6" fmla="*/ 2051050 w 4311370"/>
                <a:gd name="connsiteY6" fmla="*/ 952500 h 2076450"/>
                <a:gd name="connsiteX7" fmla="*/ 4038600 w 4311370"/>
                <a:gd name="connsiteY7" fmla="*/ 152400 h 2076450"/>
                <a:gd name="connsiteX8" fmla="*/ 4254500 w 4311370"/>
                <a:gd name="connsiteY8" fmla="*/ 584200 h 2076450"/>
                <a:gd name="connsiteX9" fmla="*/ 1581150 w 4311370"/>
                <a:gd name="connsiteY9" fmla="*/ 2076450 h 2076450"/>
                <a:gd name="connsiteX10" fmla="*/ 0 w 4311370"/>
                <a:gd name="connsiteY10" fmla="*/ 1473200 h 2076450"/>
                <a:gd name="connsiteX11" fmla="*/ 0 w 4311370"/>
                <a:gd name="connsiteY11" fmla="*/ 0 h 2076450"/>
                <a:gd name="connsiteX0" fmla="*/ 0 w 4311370"/>
                <a:gd name="connsiteY0" fmla="*/ 0 h 2182814"/>
                <a:gd name="connsiteX1" fmla="*/ 615950 w 4311370"/>
                <a:gd name="connsiteY1" fmla="*/ 0 h 2182814"/>
                <a:gd name="connsiteX2" fmla="*/ 1085850 w 4311370"/>
                <a:gd name="connsiteY2" fmla="*/ 285750 h 2182814"/>
                <a:gd name="connsiteX3" fmla="*/ 2051050 w 4311370"/>
                <a:gd name="connsiteY3" fmla="*/ 285750 h 2182814"/>
                <a:gd name="connsiteX4" fmla="*/ 2051050 w 4311370"/>
                <a:gd name="connsiteY4" fmla="*/ 952500 h 2182814"/>
                <a:gd name="connsiteX5" fmla="*/ 1225550 w 4311370"/>
                <a:gd name="connsiteY5" fmla="*/ 952500 h 2182814"/>
                <a:gd name="connsiteX6" fmla="*/ 2051050 w 4311370"/>
                <a:gd name="connsiteY6" fmla="*/ 952500 h 2182814"/>
                <a:gd name="connsiteX7" fmla="*/ 4038600 w 4311370"/>
                <a:gd name="connsiteY7" fmla="*/ 152400 h 2182814"/>
                <a:gd name="connsiteX8" fmla="*/ 4254500 w 4311370"/>
                <a:gd name="connsiteY8" fmla="*/ 584200 h 2182814"/>
                <a:gd name="connsiteX9" fmla="*/ 1581150 w 4311370"/>
                <a:gd name="connsiteY9" fmla="*/ 2076450 h 2182814"/>
                <a:gd name="connsiteX10" fmla="*/ 0 w 4311370"/>
                <a:gd name="connsiteY10" fmla="*/ 1473200 h 2182814"/>
                <a:gd name="connsiteX11" fmla="*/ 0 w 4311370"/>
                <a:gd name="connsiteY11" fmla="*/ 0 h 2182814"/>
                <a:gd name="connsiteX0" fmla="*/ 0 w 4311370"/>
                <a:gd name="connsiteY0" fmla="*/ 0 h 2076450"/>
                <a:gd name="connsiteX1" fmla="*/ 615950 w 4311370"/>
                <a:gd name="connsiteY1" fmla="*/ 0 h 2076450"/>
                <a:gd name="connsiteX2" fmla="*/ 1085850 w 4311370"/>
                <a:gd name="connsiteY2" fmla="*/ 285750 h 2076450"/>
                <a:gd name="connsiteX3" fmla="*/ 2051050 w 4311370"/>
                <a:gd name="connsiteY3" fmla="*/ 285750 h 2076450"/>
                <a:gd name="connsiteX4" fmla="*/ 2051050 w 4311370"/>
                <a:gd name="connsiteY4" fmla="*/ 952500 h 2076450"/>
                <a:gd name="connsiteX5" fmla="*/ 1225550 w 4311370"/>
                <a:gd name="connsiteY5" fmla="*/ 952500 h 2076450"/>
                <a:gd name="connsiteX6" fmla="*/ 2051050 w 4311370"/>
                <a:gd name="connsiteY6" fmla="*/ 952500 h 2076450"/>
                <a:gd name="connsiteX7" fmla="*/ 4038600 w 4311370"/>
                <a:gd name="connsiteY7" fmla="*/ 152400 h 2076450"/>
                <a:gd name="connsiteX8" fmla="*/ 4254500 w 4311370"/>
                <a:gd name="connsiteY8" fmla="*/ 584200 h 2076450"/>
                <a:gd name="connsiteX9" fmla="*/ 1581150 w 4311370"/>
                <a:gd name="connsiteY9" fmla="*/ 2076450 h 2076450"/>
                <a:gd name="connsiteX10" fmla="*/ 0 w 4311370"/>
                <a:gd name="connsiteY10" fmla="*/ 1473200 h 2076450"/>
                <a:gd name="connsiteX11" fmla="*/ 0 w 4311370"/>
                <a:gd name="connsiteY11" fmla="*/ 0 h 2076450"/>
                <a:gd name="connsiteX0" fmla="*/ 0 w 4311370"/>
                <a:gd name="connsiteY0" fmla="*/ 0 h 2132118"/>
                <a:gd name="connsiteX1" fmla="*/ 615950 w 4311370"/>
                <a:gd name="connsiteY1" fmla="*/ 0 h 2132118"/>
                <a:gd name="connsiteX2" fmla="*/ 1085850 w 4311370"/>
                <a:gd name="connsiteY2" fmla="*/ 285750 h 2132118"/>
                <a:gd name="connsiteX3" fmla="*/ 2051050 w 4311370"/>
                <a:gd name="connsiteY3" fmla="*/ 285750 h 2132118"/>
                <a:gd name="connsiteX4" fmla="*/ 2051050 w 4311370"/>
                <a:gd name="connsiteY4" fmla="*/ 952500 h 2132118"/>
                <a:gd name="connsiteX5" fmla="*/ 1225550 w 4311370"/>
                <a:gd name="connsiteY5" fmla="*/ 952500 h 2132118"/>
                <a:gd name="connsiteX6" fmla="*/ 2051050 w 4311370"/>
                <a:gd name="connsiteY6" fmla="*/ 952500 h 2132118"/>
                <a:gd name="connsiteX7" fmla="*/ 4038600 w 4311370"/>
                <a:gd name="connsiteY7" fmla="*/ 152400 h 2132118"/>
                <a:gd name="connsiteX8" fmla="*/ 4254500 w 4311370"/>
                <a:gd name="connsiteY8" fmla="*/ 584200 h 2132118"/>
                <a:gd name="connsiteX9" fmla="*/ 1581150 w 4311370"/>
                <a:gd name="connsiteY9" fmla="*/ 2076450 h 2132118"/>
                <a:gd name="connsiteX10" fmla="*/ 0 w 4311370"/>
                <a:gd name="connsiteY10" fmla="*/ 1473200 h 2132118"/>
                <a:gd name="connsiteX11" fmla="*/ 0 w 4311370"/>
                <a:gd name="connsiteY11" fmla="*/ 0 h 2132118"/>
                <a:gd name="connsiteX0" fmla="*/ 0 w 4311370"/>
                <a:gd name="connsiteY0" fmla="*/ 0 h 2076450"/>
                <a:gd name="connsiteX1" fmla="*/ 615950 w 4311370"/>
                <a:gd name="connsiteY1" fmla="*/ 0 h 2076450"/>
                <a:gd name="connsiteX2" fmla="*/ 1085850 w 4311370"/>
                <a:gd name="connsiteY2" fmla="*/ 285750 h 2076450"/>
                <a:gd name="connsiteX3" fmla="*/ 2051050 w 4311370"/>
                <a:gd name="connsiteY3" fmla="*/ 285750 h 2076450"/>
                <a:gd name="connsiteX4" fmla="*/ 2051050 w 4311370"/>
                <a:gd name="connsiteY4" fmla="*/ 952500 h 2076450"/>
                <a:gd name="connsiteX5" fmla="*/ 1225550 w 4311370"/>
                <a:gd name="connsiteY5" fmla="*/ 952500 h 2076450"/>
                <a:gd name="connsiteX6" fmla="*/ 2051050 w 4311370"/>
                <a:gd name="connsiteY6" fmla="*/ 952500 h 2076450"/>
                <a:gd name="connsiteX7" fmla="*/ 4038600 w 4311370"/>
                <a:gd name="connsiteY7" fmla="*/ 152400 h 2076450"/>
                <a:gd name="connsiteX8" fmla="*/ 4254500 w 4311370"/>
                <a:gd name="connsiteY8" fmla="*/ 584200 h 2076450"/>
                <a:gd name="connsiteX9" fmla="*/ 1581150 w 4311370"/>
                <a:gd name="connsiteY9" fmla="*/ 2076450 h 2076450"/>
                <a:gd name="connsiteX10" fmla="*/ 0 w 4311370"/>
                <a:gd name="connsiteY10" fmla="*/ 1473200 h 2076450"/>
                <a:gd name="connsiteX11" fmla="*/ 0 w 4311370"/>
                <a:gd name="connsiteY11" fmla="*/ 0 h 2076450"/>
                <a:gd name="connsiteX0" fmla="*/ 0 w 4311370"/>
                <a:gd name="connsiteY0" fmla="*/ 0 h 2119420"/>
                <a:gd name="connsiteX1" fmla="*/ 615950 w 4311370"/>
                <a:gd name="connsiteY1" fmla="*/ 0 h 2119420"/>
                <a:gd name="connsiteX2" fmla="*/ 1085850 w 4311370"/>
                <a:gd name="connsiteY2" fmla="*/ 285750 h 2119420"/>
                <a:gd name="connsiteX3" fmla="*/ 2051050 w 4311370"/>
                <a:gd name="connsiteY3" fmla="*/ 285750 h 2119420"/>
                <a:gd name="connsiteX4" fmla="*/ 2051050 w 4311370"/>
                <a:gd name="connsiteY4" fmla="*/ 952500 h 2119420"/>
                <a:gd name="connsiteX5" fmla="*/ 1225550 w 4311370"/>
                <a:gd name="connsiteY5" fmla="*/ 952500 h 2119420"/>
                <a:gd name="connsiteX6" fmla="*/ 2051050 w 4311370"/>
                <a:gd name="connsiteY6" fmla="*/ 952500 h 2119420"/>
                <a:gd name="connsiteX7" fmla="*/ 4038600 w 4311370"/>
                <a:gd name="connsiteY7" fmla="*/ 152400 h 2119420"/>
                <a:gd name="connsiteX8" fmla="*/ 4254500 w 4311370"/>
                <a:gd name="connsiteY8" fmla="*/ 584200 h 2119420"/>
                <a:gd name="connsiteX9" fmla="*/ 1581150 w 4311370"/>
                <a:gd name="connsiteY9" fmla="*/ 2076450 h 2119420"/>
                <a:gd name="connsiteX10" fmla="*/ 0 w 4311370"/>
                <a:gd name="connsiteY10" fmla="*/ 1473200 h 2119420"/>
                <a:gd name="connsiteX11" fmla="*/ 0 w 4311370"/>
                <a:gd name="connsiteY11" fmla="*/ 0 h 2119420"/>
                <a:gd name="connsiteX0" fmla="*/ 0 w 4311370"/>
                <a:gd name="connsiteY0" fmla="*/ 0 h 2119420"/>
                <a:gd name="connsiteX1" fmla="*/ 615950 w 4311370"/>
                <a:gd name="connsiteY1" fmla="*/ 0 h 2119420"/>
                <a:gd name="connsiteX2" fmla="*/ 1085850 w 4311370"/>
                <a:gd name="connsiteY2" fmla="*/ 285750 h 2119420"/>
                <a:gd name="connsiteX3" fmla="*/ 2051050 w 4311370"/>
                <a:gd name="connsiteY3" fmla="*/ 285750 h 2119420"/>
                <a:gd name="connsiteX4" fmla="*/ 2051050 w 4311370"/>
                <a:gd name="connsiteY4" fmla="*/ 952500 h 2119420"/>
                <a:gd name="connsiteX5" fmla="*/ 1225550 w 4311370"/>
                <a:gd name="connsiteY5" fmla="*/ 952500 h 2119420"/>
                <a:gd name="connsiteX6" fmla="*/ 2051050 w 4311370"/>
                <a:gd name="connsiteY6" fmla="*/ 952500 h 2119420"/>
                <a:gd name="connsiteX7" fmla="*/ 4038600 w 4311370"/>
                <a:gd name="connsiteY7" fmla="*/ 152400 h 2119420"/>
                <a:gd name="connsiteX8" fmla="*/ 4254500 w 4311370"/>
                <a:gd name="connsiteY8" fmla="*/ 584200 h 2119420"/>
                <a:gd name="connsiteX9" fmla="*/ 1581150 w 4311370"/>
                <a:gd name="connsiteY9" fmla="*/ 2076450 h 2119420"/>
                <a:gd name="connsiteX10" fmla="*/ 0 w 4311370"/>
                <a:gd name="connsiteY10" fmla="*/ 1473200 h 2119420"/>
                <a:gd name="connsiteX11" fmla="*/ 0 w 4311370"/>
                <a:gd name="connsiteY11" fmla="*/ 0 h 2119420"/>
                <a:gd name="connsiteX0" fmla="*/ 0 w 4311370"/>
                <a:gd name="connsiteY0" fmla="*/ 0 h 2076450"/>
                <a:gd name="connsiteX1" fmla="*/ 615950 w 4311370"/>
                <a:gd name="connsiteY1" fmla="*/ 0 h 2076450"/>
                <a:gd name="connsiteX2" fmla="*/ 1085850 w 4311370"/>
                <a:gd name="connsiteY2" fmla="*/ 285750 h 2076450"/>
                <a:gd name="connsiteX3" fmla="*/ 2051050 w 4311370"/>
                <a:gd name="connsiteY3" fmla="*/ 285750 h 2076450"/>
                <a:gd name="connsiteX4" fmla="*/ 2051050 w 4311370"/>
                <a:gd name="connsiteY4" fmla="*/ 952500 h 2076450"/>
                <a:gd name="connsiteX5" fmla="*/ 1225550 w 4311370"/>
                <a:gd name="connsiteY5" fmla="*/ 952500 h 2076450"/>
                <a:gd name="connsiteX6" fmla="*/ 2051050 w 4311370"/>
                <a:gd name="connsiteY6" fmla="*/ 952500 h 2076450"/>
                <a:gd name="connsiteX7" fmla="*/ 4038600 w 4311370"/>
                <a:gd name="connsiteY7" fmla="*/ 152400 h 2076450"/>
                <a:gd name="connsiteX8" fmla="*/ 4254500 w 4311370"/>
                <a:gd name="connsiteY8" fmla="*/ 584200 h 2076450"/>
                <a:gd name="connsiteX9" fmla="*/ 1581150 w 4311370"/>
                <a:gd name="connsiteY9" fmla="*/ 2076450 h 2076450"/>
                <a:gd name="connsiteX10" fmla="*/ 0 w 4311370"/>
                <a:gd name="connsiteY10" fmla="*/ 1473200 h 2076450"/>
                <a:gd name="connsiteX11" fmla="*/ 0 w 4311370"/>
                <a:gd name="connsiteY11" fmla="*/ 0 h 2076450"/>
                <a:gd name="connsiteX0" fmla="*/ 0 w 4311370"/>
                <a:gd name="connsiteY0" fmla="*/ 0 h 2076532"/>
                <a:gd name="connsiteX1" fmla="*/ 615950 w 4311370"/>
                <a:gd name="connsiteY1" fmla="*/ 0 h 2076532"/>
                <a:gd name="connsiteX2" fmla="*/ 1085850 w 4311370"/>
                <a:gd name="connsiteY2" fmla="*/ 285750 h 2076532"/>
                <a:gd name="connsiteX3" fmla="*/ 2051050 w 4311370"/>
                <a:gd name="connsiteY3" fmla="*/ 285750 h 2076532"/>
                <a:gd name="connsiteX4" fmla="*/ 2051050 w 4311370"/>
                <a:gd name="connsiteY4" fmla="*/ 952500 h 2076532"/>
                <a:gd name="connsiteX5" fmla="*/ 1225550 w 4311370"/>
                <a:gd name="connsiteY5" fmla="*/ 952500 h 2076532"/>
                <a:gd name="connsiteX6" fmla="*/ 2051050 w 4311370"/>
                <a:gd name="connsiteY6" fmla="*/ 952500 h 2076532"/>
                <a:gd name="connsiteX7" fmla="*/ 4038600 w 4311370"/>
                <a:gd name="connsiteY7" fmla="*/ 152400 h 2076532"/>
                <a:gd name="connsiteX8" fmla="*/ 4254500 w 4311370"/>
                <a:gd name="connsiteY8" fmla="*/ 584200 h 2076532"/>
                <a:gd name="connsiteX9" fmla="*/ 1581150 w 4311370"/>
                <a:gd name="connsiteY9" fmla="*/ 2076450 h 2076532"/>
                <a:gd name="connsiteX10" fmla="*/ 0 w 4311370"/>
                <a:gd name="connsiteY10" fmla="*/ 1473200 h 2076532"/>
                <a:gd name="connsiteX11" fmla="*/ 0 w 4311370"/>
                <a:gd name="connsiteY11" fmla="*/ 0 h 2076532"/>
                <a:gd name="connsiteX0" fmla="*/ 0 w 4311370"/>
                <a:gd name="connsiteY0" fmla="*/ 0 h 2076532"/>
                <a:gd name="connsiteX1" fmla="*/ 615950 w 4311370"/>
                <a:gd name="connsiteY1" fmla="*/ 0 h 2076532"/>
                <a:gd name="connsiteX2" fmla="*/ 1085850 w 4311370"/>
                <a:gd name="connsiteY2" fmla="*/ 285750 h 2076532"/>
                <a:gd name="connsiteX3" fmla="*/ 2051050 w 4311370"/>
                <a:gd name="connsiteY3" fmla="*/ 285750 h 2076532"/>
                <a:gd name="connsiteX4" fmla="*/ 2051050 w 4311370"/>
                <a:gd name="connsiteY4" fmla="*/ 952500 h 2076532"/>
                <a:gd name="connsiteX5" fmla="*/ 1225550 w 4311370"/>
                <a:gd name="connsiteY5" fmla="*/ 952500 h 2076532"/>
                <a:gd name="connsiteX6" fmla="*/ 2051050 w 4311370"/>
                <a:gd name="connsiteY6" fmla="*/ 952500 h 2076532"/>
                <a:gd name="connsiteX7" fmla="*/ 4038600 w 4311370"/>
                <a:gd name="connsiteY7" fmla="*/ 152400 h 2076532"/>
                <a:gd name="connsiteX8" fmla="*/ 4254500 w 4311370"/>
                <a:gd name="connsiteY8" fmla="*/ 584200 h 2076532"/>
                <a:gd name="connsiteX9" fmla="*/ 1581150 w 4311370"/>
                <a:gd name="connsiteY9" fmla="*/ 2076450 h 2076532"/>
                <a:gd name="connsiteX10" fmla="*/ 0 w 4311370"/>
                <a:gd name="connsiteY10" fmla="*/ 1473200 h 2076532"/>
                <a:gd name="connsiteX11" fmla="*/ 0 w 4311370"/>
                <a:gd name="connsiteY11" fmla="*/ 0 h 2076532"/>
                <a:gd name="connsiteX0" fmla="*/ 0 w 4311370"/>
                <a:gd name="connsiteY0" fmla="*/ 0 h 2076532"/>
                <a:gd name="connsiteX1" fmla="*/ 615950 w 4311370"/>
                <a:gd name="connsiteY1" fmla="*/ 0 h 2076532"/>
                <a:gd name="connsiteX2" fmla="*/ 1085850 w 4311370"/>
                <a:gd name="connsiteY2" fmla="*/ 285750 h 2076532"/>
                <a:gd name="connsiteX3" fmla="*/ 2051050 w 4311370"/>
                <a:gd name="connsiteY3" fmla="*/ 285750 h 2076532"/>
                <a:gd name="connsiteX4" fmla="*/ 2051050 w 4311370"/>
                <a:gd name="connsiteY4" fmla="*/ 952500 h 2076532"/>
                <a:gd name="connsiteX5" fmla="*/ 1225550 w 4311370"/>
                <a:gd name="connsiteY5" fmla="*/ 952500 h 2076532"/>
                <a:gd name="connsiteX6" fmla="*/ 2051050 w 4311370"/>
                <a:gd name="connsiteY6" fmla="*/ 952500 h 2076532"/>
                <a:gd name="connsiteX7" fmla="*/ 4038600 w 4311370"/>
                <a:gd name="connsiteY7" fmla="*/ 152400 h 2076532"/>
                <a:gd name="connsiteX8" fmla="*/ 4254500 w 4311370"/>
                <a:gd name="connsiteY8" fmla="*/ 584200 h 2076532"/>
                <a:gd name="connsiteX9" fmla="*/ 1581150 w 4311370"/>
                <a:gd name="connsiteY9" fmla="*/ 2076450 h 2076532"/>
                <a:gd name="connsiteX10" fmla="*/ 0 w 4311370"/>
                <a:gd name="connsiteY10" fmla="*/ 1473200 h 2076532"/>
                <a:gd name="connsiteX11" fmla="*/ 0 w 4311370"/>
                <a:gd name="connsiteY11" fmla="*/ 0 h 2076532"/>
                <a:gd name="connsiteX0" fmla="*/ 0 w 4306669"/>
                <a:gd name="connsiteY0" fmla="*/ 0 h 2076532"/>
                <a:gd name="connsiteX1" fmla="*/ 615950 w 4306669"/>
                <a:gd name="connsiteY1" fmla="*/ 0 h 2076532"/>
                <a:gd name="connsiteX2" fmla="*/ 1085850 w 4306669"/>
                <a:gd name="connsiteY2" fmla="*/ 285750 h 2076532"/>
                <a:gd name="connsiteX3" fmla="*/ 2051050 w 4306669"/>
                <a:gd name="connsiteY3" fmla="*/ 285750 h 2076532"/>
                <a:gd name="connsiteX4" fmla="*/ 2051050 w 4306669"/>
                <a:gd name="connsiteY4" fmla="*/ 952500 h 2076532"/>
                <a:gd name="connsiteX5" fmla="*/ 1225550 w 4306669"/>
                <a:gd name="connsiteY5" fmla="*/ 952500 h 2076532"/>
                <a:gd name="connsiteX6" fmla="*/ 2051050 w 4306669"/>
                <a:gd name="connsiteY6" fmla="*/ 952500 h 2076532"/>
                <a:gd name="connsiteX7" fmla="*/ 4038600 w 4306669"/>
                <a:gd name="connsiteY7" fmla="*/ 152400 h 2076532"/>
                <a:gd name="connsiteX8" fmla="*/ 4254500 w 4306669"/>
                <a:gd name="connsiteY8" fmla="*/ 584200 h 2076532"/>
                <a:gd name="connsiteX9" fmla="*/ 1581150 w 4306669"/>
                <a:gd name="connsiteY9" fmla="*/ 2076450 h 2076532"/>
                <a:gd name="connsiteX10" fmla="*/ 0 w 4306669"/>
                <a:gd name="connsiteY10" fmla="*/ 1473200 h 2076532"/>
                <a:gd name="connsiteX11" fmla="*/ 0 w 4306669"/>
                <a:gd name="connsiteY11" fmla="*/ 0 h 2076532"/>
                <a:gd name="connsiteX0" fmla="*/ 0 w 4328962"/>
                <a:gd name="connsiteY0" fmla="*/ 0 h 2076532"/>
                <a:gd name="connsiteX1" fmla="*/ 615950 w 4328962"/>
                <a:gd name="connsiteY1" fmla="*/ 0 h 2076532"/>
                <a:gd name="connsiteX2" fmla="*/ 1085850 w 4328962"/>
                <a:gd name="connsiteY2" fmla="*/ 285750 h 2076532"/>
                <a:gd name="connsiteX3" fmla="*/ 2051050 w 4328962"/>
                <a:gd name="connsiteY3" fmla="*/ 285750 h 2076532"/>
                <a:gd name="connsiteX4" fmla="*/ 2051050 w 4328962"/>
                <a:gd name="connsiteY4" fmla="*/ 952500 h 2076532"/>
                <a:gd name="connsiteX5" fmla="*/ 1225550 w 4328962"/>
                <a:gd name="connsiteY5" fmla="*/ 952500 h 2076532"/>
                <a:gd name="connsiteX6" fmla="*/ 2051050 w 4328962"/>
                <a:gd name="connsiteY6" fmla="*/ 952500 h 2076532"/>
                <a:gd name="connsiteX7" fmla="*/ 4038600 w 4328962"/>
                <a:gd name="connsiteY7" fmla="*/ 152400 h 2076532"/>
                <a:gd name="connsiteX8" fmla="*/ 4254500 w 4328962"/>
                <a:gd name="connsiteY8" fmla="*/ 584200 h 2076532"/>
                <a:gd name="connsiteX9" fmla="*/ 1581150 w 4328962"/>
                <a:gd name="connsiteY9" fmla="*/ 2076450 h 2076532"/>
                <a:gd name="connsiteX10" fmla="*/ 0 w 4328962"/>
                <a:gd name="connsiteY10" fmla="*/ 1473200 h 2076532"/>
                <a:gd name="connsiteX11" fmla="*/ 0 w 4328962"/>
                <a:gd name="connsiteY11" fmla="*/ 0 h 2076532"/>
                <a:gd name="connsiteX0" fmla="*/ 0 w 4328962"/>
                <a:gd name="connsiteY0" fmla="*/ 0 h 2076532"/>
                <a:gd name="connsiteX1" fmla="*/ 615950 w 4328962"/>
                <a:gd name="connsiteY1" fmla="*/ 0 h 2076532"/>
                <a:gd name="connsiteX2" fmla="*/ 1085850 w 4328962"/>
                <a:gd name="connsiteY2" fmla="*/ 285750 h 2076532"/>
                <a:gd name="connsiteX3" fmla="*/ 2051050 w 4328962"/>
                <a:gd name="connsiteY3" fmla="*/ 285750 h 2076532"/>
                <a:gd name="connsiteX4" fmla="*/ 2051050 w 4328962"/>
                <a:gd name="connsiteY4" fmla="*/ 952500 h 2076532"/>
                <a:gd name="connsiteX5" fmla="*/ 1225550 w 4328962"/>
                <a:gd name="connsiteY5" fmla="*/ 952500 h 2076532"/>
                <a:gd name="connsiteX6" fmla="*/ 2051050 w 4328962"/>
                <a:gd name="connsiteY6" fmla="*/ 952500 h 2076532"/>
                <a:gd name="connsiteX7" fmla="*/ 4038600 w 4328962"/>
                <a:gd name="connsiteY7" fmla="*/ 152400 h 2076532"/>
                <a:gd name="connsiteX8" fmla="*/ 4254500 w 4328962"/>
                <a:gd name="connsiteY8" fmla="*/ 584200 h 2076532"/>
                <a:gd name="connsiteX9" fmla="*/ 1581150 w 4328962"/>
                <a:gd name="connsiteY9" fmla="*/ 2076450 h 2076532"/>
                <a:gd name="connsiteX10" fmla="*/ 0 w 4328962"/>
                <a:gd name="connsiteY10" fmla="*/ 1473200 h 2076532"/>
                <a:gd name="connsiteX11" fmla="*/ 0 w 4328962"/>
                <a:gd name="connsiteY11" fmla="*/ 0 h 2076532"/>
                <a:gd name="connsiteX0" fmla="*/ 0 w 4328962"/>
                <a:gd name="connsiteY0" fmla="*/ 0 h 2076532"/>
                <a:gd name="connsiteX1" fmla="*/ 615950 w 4328962"/>
                <a:gd name="connsiteY1" fmla="*/ 0 h 2076532"/>
                <a:gd name="connsiteX2" fmla="*/ 1085850 w 4328962"/>
                <a:gd name="connsiteY2" fmla="*/ 285750 h 2076532"/>
                <a:gd name="connsiteX3" fmla="*/ 2051050 w 4328962"/>
                <a:gd name="connsiteY3" fmla="*/ 285750 h 2076532"/>
                <a:gd name="connsiteX4" fmla="*/ 2051050 w 4328962"/>
                <a:gd name="connsiteY4" fmla="*/ 952500 h 2076532"/>
                <a:gd name="connsiteX5" fmla="*/ 1225550 w 4328962"/>
                <a:gd name="connsiteY5" fmla="*/ 952500 h 2076532"/>
                <a:gd name="connsiteX6" fmla="*/ 2051050 w 4328962"/>
                <a:gd name="connsiteY6" fmla="*/ 952500 h 2076532"/>
                <a:gd name="connsiteX7" fmla="*/ 4038600 w 4328962"/>
                <a:gd name="connsiteY7" fmla="*/ 152400 h 2076532"/>
                <a:gd name="connsiteX8" fmla="*/ 4254500 w 4328962"/>
                <a:gd name="connsiteY8" fmla="*/ 584200 h 2076532"/>
                <a:gd name="connsiteX9" fmla="*/ 1581150 w 4328962"/>
                <a:gd name="connsiteY9" fmla="*/ 2076450 h 2076532"/>
                <a:gd name="connsiteX10" fmla="*/ 0 w 4328962"/>
                <a:gd name="connsiteY10" fmla="*/ 1473200 h 2076532"/>
                <a:gd name="connsiteX11" fmla="*/ 0 w 4328962"/>
                <a:gd name="connsiteY11" fmla="*/ 0 h 20765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4328962" h="2076532">
                  <a:moveTo>
                    <a:pt x="0" y="0"/>
                  </a:moveTo>
                  <a:lnTo>
                    <a:pt x="615950" y="0"/>
                  </a:lnTo>
                  <a:cubicBezTo>
                    <a:pt x="796925" y="47625"/>
                    <a:pt x="846667" y="238125"/>
                    <a:pt x="1085850" y="285750"/>
                  </a:cubicBezTo>
                  <a:lnTo>
                    <a:pt x="2051050" y="285750"/>
                  </a:lnTo>
                  <a:cubicBezTo>
                    <a:pt x="2451100" y="317500"/>
                    <a:pt x="2362200" y="901700"/>
                    <a:pt x="2051050" y="952500"/>
                  </a:cubicBezTo>
                  <a:lnTo>
                    <a:pt x="1225550" y="952500"/>
                  </a:lnTo>
                  <a:lnTo>
                    <a:pt x="2051050" y="952500"/>
                  </a:lnTo>
                  <a:lnTo>
                    <a:pt x="4038600" y="152400"/>
                  </a:lnTo>
                  <a:cubicBezTo>
                    <a:pt x="4269317" y="74083"/>
                    <a:pt x="4430183" y="459317"/>
                    <a:pt x="4254500" y="584200"/>
                  </a:cubicBezTo>
                  <a:cubicBezTo>
                    <a:pt x="3363383" y="1081617"/>
                    <a:pt x="1703917" y="2087033"/>
                    <a:pt x="1581150" y="2076450"/>
                  </a:cubicBezTo>
                  <a:cubicBezTo>
                    <a:pt x="1466850" y="2078567"/>
                    <a:pt x="527050" y="1674283"/>
                    <a:pt x="0" y="1473200"/>
                  </a:cubicBezTo>
                  <a:lnTo>
                    <a:pt x="0" y="0"/>
                  </a:lnTo>
                  <a:close/>
                </a:path>
              </a:pathLst>
            </a:custGeom>
            <a:noFill/>
            <a:ln w="12700" cap="flat">
              <a:solidFill>
                <a:schemeClr val="tx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</a:bodyPr>
            <a:lstStyle/>
            <a:p>
              <a:endParaRPr lang="en-GB" kern="0" dirty="0">
                <a:solidFill>
                  <a:srgbClr val="404955"/>
                </a:solidFill>
                <a:latin typeface="Arial"/>
              </a:endParaRPr>
            </a:p>
          </p:txBody>
        </p:sp>
        <p:sp>
          <p:nvSpPr>
            <p:cNvPr id="110" name="Freihandform: Form 118">
              <a:extLst>
                <a:ext uri="{FF2B5EF4-FFF2-40B4-BE49-F238E27FC236}">
                  <a16:creationId xmlns:a16="http://schemas.microsoft.com/office/drawing/2014/main" id="{314E336C-0E69-6DBA-A7D9-758AC3C6941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681171" y="2076857"/>
              <a:ext cx="261898" cy="261908"/>
            </a:xfrm>
            <a:custGeom>
              <a:avLst/>
              <a:gdLst>
                <a:gd name="connsiteX0" fmla="*/ 151870 w 303739"/>
                <a:gd name="connsiteY0" fmla="*/ 107906 h 303749"/>
                <a:gd name="connsiteX1" fmla="*/ 195833 w 303739"/>
                <a:gd name="connsiteY1" fmla="*/ 151869 h 303749"/>
                <a:gd name="connsiteX2" fmla="*/ 151870 w 303739"/>
                <a:gd name="connsiteY2" fmla="*/ 195832 h 303749"/>
                <a:gd name="connsiteX3" fmla="*/ 107907 w 303739"/>
                <a:gd name="connsiteY3" fmla="*/ 151869 h 303749"/>
                <a:gd name="connsiteX4" fmla="*/ 151870 w 303739"/>
                <a:gd name="connsiteY4" fmla="*/ 107906 h 303749"/>
                <a:gd name="connsiteX5" fmla="*/ 167875 w 303739"/>
                <a:gd name="connsiteY5" fmla="*/ 0 h 303749"/>
                <a:gd name="connsiteX6" fmla="*/ 164783 w 303739"/>
                <a:gd name="connsiteY6" fmla="*/ 0 h 303749"/>
                <a:gd name="connsiteX7" fmla="*/ 160236 w 303739"/>
                <a:gd name="connsiteY7" fmla="*/ 0 h 303749"/>
                <a:gd name="connsiteX8" fmla="*/ 154780 w 303739"/>
                <a:gd name="connsiteY8" fmla="*/ 0 h 303749"/>
                <a:gd name="connsiteX9" fmla="*/ 148959 w 303739"/>
                <a:gd name="connsiteY9" fmla="*/ 0 h 303749"/>
                <a:gd name="connsiteX10" fmla="*/ 143503 w 303739"/>
                <a:gd name="connsiteY10" fmla="*/ 0 h 303749"/>
                <a:gd name="connsiteX11" fmla="*/ 138956 w 303739"/>
                <a:gd name="connsiteY11" fmla="*/ 0 h 303749"/>
                <a:gd name="connsiteX12" fmla="*/ 135864 w 303739"/>
                <a:gd name="connsiteY12" fmla="*/ 0 h 303749"/>
                <a:gd name="connsiteX13" fmla="*/ 134591 w 303739"/>
                <a:gd name="connsiteY13" fmla="*/ 0 h 303749"/>
                <a:gd name="connsiteX14" fmla="*/ 125861 w 303739"/>
                <a:gd name="connsiteY14" fmla="*/ 39106 h 303749"/>
                <a:gd name="connsiteX15" fmla="*/ 125497 w 303739"/>
                <a:gd name="connsiteY15" fmla="*/ 39287 h 303749"/>
                <a:gd name="connsiteX16" fmla="*/ 123860 w 303739"/>
                <a:gd name="connsiteY16" fmla="*/ 39651 h 303749"/>
                <a:gd name="connsiteX17" fmla="*/ 122041 w 303739"/>
                <a:gd name="connsiteY17" fmla="*/ 40015 h 303749"/>
                <a:gd name="connsiteX18" fmla="*/ 119859 w 303739"/>
                <a:gd name="connsiteY18" fmla="*/ 40561 h 303749"/>
                <a:gd name="connsiteX19" fmla="*/ 117858 w 303739"/>
                <a:gd name="connsiteY19" fmla="*/ 41106 h 303749"/>
                <a:gd name="connsiteX20" fmla="*/ 115676 w 303739"/>
                <a:gd name="connsiteY20" fmla="*/ 42016 h 303749"/>
                <a:gd name="connsiteX21" fmla="*/ 113493 w 303739"/>
                <a:gd name="connsiteY21" fmla="*/ 42743 h 303749"/>
                <a:gd name="connsiteX22" fmla="*/ 111129 w 303739"/>
                <a:gd name="connsiteY22" fmla="*/ 43653 h 303749"/>
                <a:gd name="connsiteX23" fmla="*/ 108582 w 303739"/>
                <a:gd name="connsiteY23" fmla="*/ 44562 h 303749"/>
                <a:gd name="connsiteX24" fmla="*/ 106218 w 303739"/>
                <a:gd name="connsiteY24" fmla="*/ 45472 h 303749"/>
                <a:gd name="connsiteX25" fmla="*/ 103853 w 303739"/>
                <a:gd name="connsiteY25" fmla="*/ 46563 h 303749"/>
                <a:gd name="connsiteX26" fmla="*/ 101489 w 303739"/>
                <a:gd name="connsiteY26" fmla="*/ 47836 h 303749"/>
                <a:gd name="connsiteX27" fmla="*/ 98943 w 303739"/>
                <a:gd name="connsiteY27" fmla="*/ 49109 h 303749"/>
                <a:gd name="connsiteX28" fmla="*/ 96578 w 303739"/>
                <a:gd name="connsiteY28" fmla="*/ 50382 h 303749"/>
                <a:gd name="connsiteX29" fmla="*/ 94214 w 303739"/>
                <a:gd name="connsiteY29" fmla="*/ 51656 h 303749"/>
                <a:gd name="connsiteX30" fmla="*/ 92031 w 303739"/>
                <a:gd name="connsiteY30" fmla="*/ 53111 h 303749"/>
                <a:gd name="connsiteX31" fmla="*/ 89667 w 303739"/>
                <a:gd name="connsiteY31" fmla="*/ 54566 h 303749"/>
                <a:gd name="connsiteX32" fmla="*/ 55837 w 303739"/>
                <a:gd name="connsiteY32" fmla="*/ 33103 h 303749"/>
                <a:gd name="connsiteX33" fmla="*/ 53473 w 303739"/>
                <a:gd name="connsiteY33" fmla="*/ 35468 h 303749"/>
                <a:gd name="connsiteX34" fmla="*/ 50381 w 303739"/>
                <a:gd name="connsiteY34" fmla="*/ 38560 h 303749"/>
                <a:gd name="connsiteX35" fmla="*/ 46561 w 303739"/>
                <a:gd name="connsiteY35" fmla="*/ 42379 h 303749"/>
                <a:gd name="connsiteX36" fmla="*/ 42560 w 303739"/>
                <a:gd name="connsiteY36" fmla="*/ 46381 h 303749"/>
                <a:gd name="connsiteX37" fmla="*/ 38559 w 303739"/>
                <a:gd name="connsiteY37" fmla="*/ 50382 h 303749"/>
                <a:gd name="connsiteX38" fmla="*/ 35467 w 303739"/>
                <a:gd name="connsiteY38" fmla="*/ 53475 h 303749"/>
                <a:gd name="connsiteX39" fmla="*/ 33102 w 303739"/>
                <a:gd name="connsiteY39" fmla="*/ 55839 h 303749"/>
                <a:gd name="connsiteX40" fmla="*/ 32375 w 303739"/>
                <a:gd name="connsiteY40" fmla="*/ 56567 h 303749"/>
                <a:gd name="connsiteX41" fmla="*/ 53655 w 303739"/>
                <a:gd name="connsiteY41" fmla="*/ 90579 h 303749"/>
                <a:gd name="connsiteX42" fmla="*/ 53655 w 303739"/>
                <a:gd name="connsiteY42" fmla="*/ 90943 h 303749"/>
                <a:gd name="connsiteX43" fmla="*/ 52563 w 303739"/>
                <a:gd name="connsiteY43" fmla="*/ 92398 h 303749"/>
                <a:gd name="connsiteX44" fmla="*/ 51836 w 303739"/>
                <a:gd name="connsiteY44" fmla="*/ 94217 h 303749"/>
                <a:gd name="connsiteX45" fmla="*/ 50744 w 303739"/>
                <a:gd name="connsiteY45" fmla="*/ 95854 h 303749"/>
                <a:gd name="connsiteX46" fmla="*/ 49653 w 303739"/>
                <a:gd name="connsiteY46" fmla="*/ 97673 h 303749"/>
                <a:gd name="connsiteX47" fmla="*/ 48744 w 303739"/>
                <a:gd name="connsiteY47" fmla="*/ 99855 h 303749"/>
                <a:gd name="connsiteX48" fmla="*/ 47653 w 303739"/>
                <a:gd name="connsiteY48" fmla="*/ 101856 h 303749"/>
                <a:gd name="connsiteX49" fmla="*/ 46561 w 303739"/>
                <a:gd name="connsiteY49" fmla="*/ 104221 h 303749"/>
                <a:gd name="connsiteX50" fmla="*/ 45470 w 303739"/>
                <a:gd name="connsiteY50" fmla="*/ 106585 h 303749"/>
                <a:gd name="connsiteX51" fmla="*/ 44561 w 303739"/>
                <a:gd name="connsiteY51" fmla="*/ 108950 h 303749"/>
                <a:gd name="connsiteX52" fmla="*/ 43651 w 303739"/>
                <a:gd name="connsiteY52" fmla="*/ 111496 h 303749"/>
                <a:gd name="connsiteX53" fmla="*/ 42560 w 303739"/>
                <a:gd name="connsiteY53" fmla="*/ 114042 h 303749"/>
                <a:gd name="connsiteX54" fmla="*/ 41832 w 303739"/>
                <a:gd name="connsiteY54" fmla="*/ 116589 h 303749"/>
                <a:gd name="connsiteX55" fmla="*/ 41105 w 303739"/>
                <a:gd name="connsiteY55" fmla="*/ 119317 h 303749"/>
                <a:gd name="connsiteX56" fmla="*/ 40195 w 303739"/>
                <a:gd name="connsiteY56" fmla="*/ 121864 h 303749"/>
                <a:gd name="connsiteX57" fmla="*/ 39650 w 303739"/>
                <a:gd name="connsiteY57" fmla="*/ 124592 h 303749"/>
                <a:gd name="connsiteX58" fmla="*/ 39286 w 303739"/>
                <a:gd name="connsiteY58" fmla="*/ 126956 h 303749"/>
                <a:gd name="connsiteX59" fmla="*/ 0 w 303739"/>
                <a:gd name="connsiteY59" fmla="*/ 136051 h 303749"/>
                <a:gd name="connsiteX60" fmla="*/ 0 w 303739"/>
                <a:gd name="connsiteY60" fmla="*/ 139143 h 303749"/>
                <a:gd name="connsiteX61" fmla="*/ 0 w 303739"/>
                <a:gd name="connsiteY61" fmla="*/ 143508 h 303749"/>
                <a:gd name="connsiteX62" fmla="*/ 0 w 303739"/>
                <a:gd name="connsiteY62" fmla="*/ 148964 h 303749"/>
                <a:gd name="connsiteX63" fmla="*/ 0 w 303739"/>
                <a:gd name="connsiteY63" fmla="*/ 154785 h 303749"/>
                <a:gd name="connsiteX64" fmla="*/ 0 w 303739"/>
                <a:gd name="connsiteY64" fmla="*/ 160241 h 303749"/>
                <a:gd name="connsiteX65" fmla="*/ 0 w 303739"/>
                <a:gd name="connsiteY65" fmla="*/ 164789 h 303749"/>
                <a:gd name="connsiteX66" fmla="*/ 0 w 303739"/>
                <a:gd name="connsiteY66" fmla="*/ 167881 h 303749"/>
                <a:gd name="connsiteX67" fmla="*/ 0 w 303739"/>
                <a:gd name="connsiteY67" fmla="*/ 169154 h 303749"/>
                <a:gd name="connsiteX68" fmla="*/ 39286 w 303739"/>
                <a:gd name="connsiteY68" fmla="*/ 177884 h 303749"/>
                <a:gd name="connsiteX69" fmla="*/ 39468 w 303739"/>
                <a:gd name="connsiteY69" fmla="*/ 178248 h 303749"/>
                <a:gd name="connsiteX70" fmla="*/ 39832 w 303739"/>
                <a:gd name="connsiteY70" fmla="*/ 179885 h 303749"/>
                <a:gd name="connsiteX71" fmla="*/ 40195 w 303739"/>
                <a:gd name="connsiteY71" fmla="*/ 181704 h 303749"/>
                <a:gd name="connsiteX72" fmla="*/ 40741 w 303739"/>
                <a:gd name="connsiteY72" fmla="*/ 183887 h 303749"/>
                <a:gd name="connsiteX73" fmla="*/ 41287 w 303739"/>
                <a:gd name="connsiteY73" fmla="*/ 185887 h 303749"/>
                <a:gd name="connsiteX74" fmla="*/ 42196 w 303739"/>
                <a:gd name="connsiteY74" fmla="*/ 188252 h 303749"/>
                <a:gd name="connsiteX75" fmla="*/ 42924 w 303739"/>
                <a:gd name="connsiteY75" fmla="*/ 190253 h 303749"/>
                <a:gd name="connsiteX76" fmla="*/ 43833 w 303739"/>
                <a:gd name="connsiteY76" fmla="*/ 192799 h 303749"/>
                <a:gd name="connsiteX77" fmla="*/ 44742 w 303739"/>
                <a:gd name="connsiteY77" fmla="*/ 195163 h 303749"/>
                <a:gd name="connsiteX78" fmla="*/ 45652 w 303739"/>
                <a:gd name="connsiteY78" fmla="*/ 197528 h 303749"/>
                <a:gd name="connsiteX79" fmla="*/ 46743 w 303739"/>
                <a:gd name="connsiteY79" fmla="*/ 199892 h 303749"/>
                <a:gd name="connsiteX80" fmla="*/ 48016 w 303739"/>
                <a:gd name="connsiteY80" fmla="*/ 202439 h 303749"/>
                <a:gd name="connsiteX81" fmla="*/ 49289 w 303739"/>
                <a:gd name="connsiteY81" fmla="*/ 204803 h 303749"/>
                <a:gd name="connsiteX82" fmla="*/ 50563 w 303739"/>
                <a:gd name="connsiteY82" fmla="*/ 207168 h 303749"/>
                <a:gd name="connsiteX83" fmla="*/ 51836 w 303739"/>
                <a:gd name="connsiteY83" fmla="*/ 209532 h 303749"/>
                <a:gd name="connsiteX84" fmla="*/ 53291 w 303739"/>
                <a:gd name="connsiteY84" fmla="*/ 211715 h 303749"/>
                <a:gd name="connsiteX85" fmla="*/ 54746 w 303739"/>
                <a:gd name="connsiteY85" fmla="*/ 214080 h 303749"/>
                <a:gd name="connsiteX86" fmla="*/ 33284 w 303739"/>
                <a:gd name="connsiteY86" fmla="*/ 247910 h 303749"/>
                <a:gd name="connsiteX87" fmla="*/ 35648 w 303739"/>
                <a:gd name="connsiteY87" fmla="*/ 250275 h 303749"/>
                <a:gd name="connsiteX88" fmla="*/ 38740 w 303739"/>
                <a:gd name="connsiteY88" fmla="*/ 253367 h 303749"/>
                <a:gd name="connsiteX89" fmla="*/ 42560 w 303739"/>
                <a:gd name="connsiteY89" fmla="*/ 257187 h 303749"/>
                <a:gd name="connsiteX90" fmla="*/ 46743 w 303739"/>
                <a:gd name="connsiteY90" fmla="*/ 261188 h 303749"/>
                <a:gd name="connsiteX91" fmla="*/ 50563 w 303739"/>
                <a:gd name="connsiteY91" fmla="*/ 265189 h 303749"/>
                <a:gd name="connsiteX92" fmla="*/ 53655 w 303739"/>
                <a:gd name="connsiteY92" fmla="*/ 268282 h 303749"/>
                <a:gd name="connsiteX93" fmla="*/ 56019 w 303739"/>
                <a:gd name="connsiteY93" fmla="*/ 270646 h 303749"/>
                <a:gd name="connsiteX94" fmla="*/ 56928 w 303739"/>
                <a:gd name="connsiteY94" fmla="*/ 271374 h 303749"/>
                <a:gd name="connsiteX95" fmla="*/ 90758 w 303739"/>
                <a:gd name="connsiteY95" fmla="*/ 250093 h 303749"/>
                <a:gd name="connsiteX96" fmla="*/ 90940 w 303739"/>
                <a:gd name="connsiteY96" fmla="*/ 250093 h 303749"/>
                <a:gd name="connsiteX97" fmla="*/ 92395 w 303739"/>
                <a:gd name="connsiteY97" fmla="*/ 251184 h 303749"/>
                <a:gd name="connsiteX98" fmla="*/ 94214 w 303739"/>
                <a:gd name="connsiteY98" fmla="*/ 251912 h 303749"/>
                <a:gd name="connsiteX99" fmla="*/ 96033 w 303739"/>
                <a:gd name="connsiteY99" fmla="*/ 253003 h 303749"/>
                <a:gd name="connsiteX100" fmla="*/ 97851 w 303739"/>
                <a:gd name="connsiteY100" fmla="*/ 254094 h 303749"/>
                <a:gd name="connsiteX101" fmla="*/ 100034 w 303739"/>
                <a:gd name="connsiteY101" fmla="*/ 255004 h 303749"/>
                <a:gd name="connsiteX102" fmla="*/ 102035 w 303739"/>
                <a:gd name="connsiteY102" fmla="*/ 256095 h 303749"/>
                <a:gd name="connsiteX103" fmla="*/ 104399 w 303739"/>
                <a:gd name="connsiteY103" fmla="*/ 257187 h 303749"/>
                <a:gd name="connsiteX104" fmla="*/ 106763 w 303739"/>
                <a:gd name="connsiteY104" fmla="*/ 258278 h 303749"/>
                <a:gd name="connsiteX105" fmla="*/ 109310 w 303739"/>
                <a:gd name="connsiteY105" fmla="*/ 259187 h 303749"/>
                <a:gd name="connsiteX106" fmla="*/ 111674 w 303739"/>
                <a:gd name="connsiteY106" fmla="*/ 260097 h 303749"/>
                <a:gd name="connsiteX107" fmla="*/ 114220 w 303739"/>
                <a:gd name="connsiteY107" fmla="*/ 261188 h 303749"/>
                <a:gd name="connsiteX108" fmla="*/ 116767 w 303739"/>
                <a:gd name="connsiteY108" fmla="*/ 261916 h 303749"/>
                <a:gd name="connsiteX109" fmla="*/ 119313 w 303739"/>
                <a:gd name="connsiteY109" fmla="*/ 262643 h 303749"/>
                <a:gd name="connsiteX110" fmla="*/ 121859 w 303739"/>
                <a:gd name="connsiteY110" fmla="*/ 263553 h 303749"/>
                <a:gd name="connsiteX111" fmla="*/ 124588 w 303739"/>
                <a:gd name="connsiteY111" fmla="*/ 264098 h 303749"/>
                <a:gd name="connsiteX112" fmla="*/ 126952 w 303739"/>
                <a:gd name="connsiteY112" fmla="*/ 264462 h 303749"/>
                <a:gd name="connsiteX113" fmla="*/ 136046 w 303739"/>
                <a:gd name="connsiteY113" fmla="*/ 303749 h 303749"/>
                <a:gd name="connsiteX114" fmla="*/ 139138 w 303739"/>
                <a:gd name="connsiteY114" fmla="*/ 303749 h 303749"/>
                <a:gd name="connsiteX115" fmla="*/ 143867 w 303739"/>
                <a:gd name="connsiteY115" fmla="*/ 303749 h 303749"/>
                <a:gd name="connsiteX116" fmla="*/ 148959 w 303739"/>
                <a:gd name="connsiteY116" fmla="*/ 303749 h 303749"/>
                <a:gd name="connsiteX117" fmla="*/ 154962 w 303739"/>
                <a:gd name="connsiteY117" fmla="*/ 303749 h 303749"/>
                <a:gd name="connsiteX118" fmla="*/ 160236 w 303739"/>
                <a:gd name="connsiteY118" fmla="*/ 303749 h 303749"/>
                <a:gd name="connsiteX119" fmla="*/ 164783 w 303739"/>
                <a:gd name="connsiteY119" fmla="*/ 303749 h 303749"/>
                <a:gd name="connsiteX120" fmla="*/ 167875 w 303739"/>
                <a:gd name="connsiteY120" fmla="*/ 303749 h 303749"/>
                <a:gd name="connsiteX121" fmla="*/ 169148 w 303739"/>
                <a:gd name="connsiteY121" fmla="*/ 303749 h 303749"/>
                <a:gd name="connsiteX122" fmla="*/ 178242 w 303739"/>
                <a:gd name="connsiteY122" fmla="*/ 264462 h 303749"/>
                <a:gd name="connsiteX123" fmla="*/ 178424 w 303739"/>
                <a:gd name="connsiteY123" fmla="*/ 264280 h 303749"/>
                <a:gd name="connsiteX124" fmla="*/ 180061 w 303739"/>
                <a:gd name="connsiteY124" fmla="*/ 263916 h 303749"/>
                <a:gd name="connsiteX125" fmla="*/ 181880 w 303739"/>
                <a:gd name="connsiteY125" fmla="*/ 263553 h 303749"/>
                <a:gd name="connsiteX126" fmla="*/ 184062 w 303739"/>
                <a:gd name="connsiteY126" fmla="*/ 263007 h 303749"/>
                <a:gd name="connsiteX127" fmla="*/ 186063 w 303739"/>
                <a:gd name="connsiteY127" fmla="*/ 262461 h 303749"/>
                <a:gd name="connsiteX128" fmla="*/ 188245 w 303739"/>
                <a:gd name="connsiteY128" fmla="*/ 261552 h 303749"/>
                <a:gd name="connsiteX129" fmla="*/ 190610 w 303739"/>
                <a:gd name="connsiteY129" fmla="*/ 260824 h 303749"/>
                <a:gd name="connsiteX130" fmla="*/ 192792 w 303739"/>
                <a:gd name="connsiteY130" fmla="*/ 259915 h 303749"/>
                <a:gd name="connsiteX131" fmla="*/ 195339 w 303739"/>
                <a:gd name="connsiteY131" fmla="*/ 259005 h 303749"/>
                <a:gd name="connsiteX132" fmla="*/ 197703 w 303739"/>
                <a:gd name="connsiteY132" fmla="*/ 258096 h 303749"/>
                <a:gd name="connsiteX133" fmla="*/ 200250 w 303739"/>
                <a:gd name="connsiteY133" fmla="*/ 257005 h 303749"/>
                <a:gd name="connsiteX134" fmla="*/ 202432 w 303739"/>
                <a:gd name="connsiteY134" fmla="*/ 255731 h 303749"/>
                <a:gd name="connsiteX135" fmla="*/ 204978 w 303739"/>
                <a:gd name="connsiteY135" fmla="*/ 254458 h 303749"/>
                <a:gd name="connsiteX136" fmla="*/ 207343 w 303739"/>
                <a:gd name="connsiteY136" fmla="*/ 253185 h 303749"/>
                <a:gd name="connsiteX137" fmla="*/ 209525 w 303739"/>
                <a:gd name="connsiteY137" fmla="*/ 251912 h 303749"/>
                <a:gd name="connsiteX138" fmla="*/ 211890 w 303739"/>
                <a:gd name="connsiteY138" fmla="*/ 250457 h 303749"/>
                <a:gd name="connsiteX139" fmla="*/ 214072 w 303739"/>
                <a:gd name="connsiteY139" fmla="*/ 249002 h 303749"/>
                <a:gd name="connsiteX140" fmla="*/ 247902 w 303739"/>
                <a:gd name="connsiteY140" fmla="*/ 270464 h 303749"/>
                <a:gd name="connsiteX141" fmla="*/ 250266 w 303739"/>
                <a:gd name="connsiteY141" fmla="*/ 268100 h 303749"/>
                <a:gd name="connsiteX142" fmla="*/ 253358 w 303739"/>
                <a:gd name="connsiteY142" fmla="*/ 265008 h 303749"/>
                <a:gd name="connsiteX143" fmla="*/ 257178 w 303739"/>
                <a:gd name="connsiteY143" fmla="*/ 261188 h 303749"/>
                <a:gd name="connsiteX144" fmla="*/ 261361 w 303739"/>
                <a:gd name="connsiteY144" fmla="*/ 257005 h 303749"/>
                <a:gd name="connsiteX145" fmla="*/ 265181 w 303739"/>
                <a:gd name="connsiteY145" fmla="*/ 253185 h 303749"/>
                <a:gd name="connsiteX146" fmla="*/ 268273 w 303739"/>
                <a:gd name="connsiteY146" fmla="*/ 250093 h 303749"/>
                <a:gd name="connsiteX147" fmla="*/ 270637 w 303739"/>
                <a:gd name="connsiteY147" fmla="*/ 247728 h 303749"/>
                <a:gd name="connsiteX148" fmla="*/ 271364 w 303739"/>
                <a:gd name="connsiteY148" fmla="*/ 246819 h 303749"/>
                <a:gd name="connsiteX149" fmla="*/ 250085 w 303739"/>
                <a:gd name="connsiteY149" fmla="*/ 212988 h 303749"/>
                <a:gd name="connsiteX150" fmla="*/ 250085 w 303739"/>
                <a:gd name="connsiteY150" fmla="*/ 212806 h 303749"/>
                <a:gd name="connsiteX151" fmla="*/ 251176 w 303739"/>
                <a:gd name="connsiteY151" fmla="*/ 211351 h 303749"/>
                <a:gd name="connsiteX152" fmla="*/ 252085 w 303739"/>
                <a:gd name="connsiteY152" fmla="*/ 209532 h 303749"/>
                <a:gd name="connsiteX153" fmla="*/ 253176 w 303739"/>
                <a:gd name="connsiteY153" fmla="*/ 207895 h 303749"/>
                <a:gd name="connsiteX154" fmla="*/ 254268 w 303739"/>
                <a:gd name="connsiteY154" fmla="*/ 205895 h 303749"/>
                <a:gd name="connsiteX155" fmla="*/ 255359 w 303739"/>
                <a:gd name="connsiteY155" fmla="*/ 203894 h 303749"/>
                <a:gd name="connsiteX156" fmla="*/ 256268 w 303739"/>
                <a:gd name="connsiteY156" fmla="*/ 201711 h 303749"/>
                <a:gd name="connsiteX157" fmla="*/ 257360 w 303739"/>
                <a:gd name="connsiteY157" fmla="*/ 199529 h 303749"/>
                <a:gd name="connsiteX158" fmla="*/ 258451 w 303739"/>
                <a:gd name="connsiteY158" fmla="*/ 196982 h 303749"/>
                <a:gd name="connsiteX159" fmla="*/ 259542 w 303739"/>
                <a:gd name="connsiteY159" fmla="*/ 194800 h 303749"/>
                <a:gd name="connsiteX160" fmla="*/ 260270 w 303739"/>
                <a:gd name="connsiteY160" fmla="*/ 192253 h 303749"/>
                <a:gd name="connsiteX161" fmla="*/ 261179 w 303739"/>
                <a:gd name="connsiteY161" fmla="*/ 189707 h 303749"/>
                <a:gd name="connsiteX162" fmla="*/ 262270 w 303739"/>
                <a:gd name="connsiteY162" fmla="*/ 186979 h 303749"/>
                <a:gd name="connsiteX163" fmla="*/ 262816 w 303739"/>
                <a:gd name="connsiteY163" fmla="*/ 184432 h 303749"/>
                <a:gd name="connsiteX164" fmla="*/ 263726 w 303739"/>
                <a:gd name="connsiteY164" fmla="*/ 181886 h 303749"/>
                <a:gd name="connsiteX165" fmla="*/ 264271 w 303739"/>
                <a:gd name="connsiteY165" fmla="*/ 179157 h 303749"/>
                <a:gd name="connsiteX166" fmla="*/ 264635 w 303739"/>
                <a:gd name="connsiteY166" fmla="*/ 176793 h 303749"/>
                <a:gd name="connsiteX167" fmla="*/ 303739 w 303739"/>
                <a:gd name="connsiteY167" fmla="*/ 167699 h 303749"/>
                <a:gd name="connsiteX168" fmla="*/ 303739 w 303739"/>
                <a:gd name="connsiteY168" fmla="*/ 164607 h 303749"/>
                <a:gd name="connsiteX169" fmla="*/ 303739 w 303739"/>
                <a:gd name="connsiteY169" fmla="*/ 159878 h 303749"/>
                <a:gd name="connsiteX170" fmla="*/ 303739 w 303739"/>
                <a:gd name="connsiteY170" fmla="*/ 154785 h 303749"/>
                <a:gd name="connsiteX171" fmla="*/ 303739 w 303739"/>
                <a:gd name="connsiteY171" fmla="*/ 148783 h 303749"/>
                <a:gd name="connsiteX172" fmla="*/ 303739 w 303739"/>
                <a:gd name="connsiteY172" fmla="*/ 143508 h 303749"/>
                <a:gd name="connsiteX173" fmla="*/ 303739 w 303739"/>
                <a:gd name="connsiteY173" fmla="*/ 138961 h 303749"/>
                <a:gd name="connsiteX174" fmla="*/ 303739 w 303739"/>
                <a:gd name="connsiteY174" fmla="*/ 135869 h 303749"/>
                <a:gd name="connsiteX175" fmla="*/ 303739 w 303739"/>
                <a:gd name="connsiteY175" fmla="*/ 134595 h 303749"/>
                <a:gd name="connsiteX176" fmla="*/ 264635 w 303739"/>
                <a:gd name="connsiteY176" fmla="*/ 125501 h 303749"/>
                <a:gd name="connsiteX177" fmla="*/ 264453 w 303739"/>
                <a:gd name="connsiteY177" fmla="*/ 125501 h 303749"/>
                <a:gd name="connsiteX178" fmla="*/ 264089 w 303739"/>
                <a:gd name="connsiteY178" fmla="*/ 123864 h 303749"/>
                <a:gd name="connsiteX179" fmla="*/ 263726 w 303739"/>
                <a:gd name="connsiteY179" fmla="*/ 122045 h 303749"/>
                <a:gd name="connsiteX180" fmla="*/ 263180 w 303739"/>
                <a:gd name="connsiteY180" fmla="*/ 119863 h 303749"/>
                <a:gd name="connsiteX181" fmla="*/ 262634 w 303739"/>
                <a:gd name="connsiteY181" fmla="*/ 117862 h 303749"/>
                <a:gd name="connsiteX182" fmla="*/ 261725 w 303739"/>
                <a:gd name="connsiteY182" fmla="*/ 115498 h 303749"/>
                <a:gd name="connsiteX183" fmla="*/ 260997 w 303739"/>
                <a:gd name="connsiteY183" fmla="*/ 113133 h 303749"/>
                <a:gd name="connsiteX184" fmla="*/ 260088 w 303739"/>
                <a:gd name="connsiteY184" fmla="*/ 110950 h 303749"/>
                <a:gd name="connsiteX185" fmla="*/ 259179 w 303739"/>
                <a:gd name="connsiteY185" fmla="*/ 108586 h 303749"/>
                <a:gd name="connsiteX186" fmla="*/ 258269 w 303739"/>
                <a:gd name="connsiteY186" fmla="*/ 106221 h 303749"/>
                <a:gd name="connsiteX187" fmla="*/ 257178 w 303739"/>
                <a:gd name="connsiteY187" fmla="*/ 103857 h 303749"/>
                <a:gd name="connsiteX188" fmla="*/ 255905 w 303739"/>
                <a:gd name="connsiteY188" fmla="*/ 101310 h 303749"/>
                <a:gd name="connsiteX189" fmla="*/ 254632 w 303739"/>
                <a:gd name="connsiteY189" fmla="*/ 98946 h 303749"/>
                <a:gd name="connsiteX190" fmla="*/ 253358 w 303739"/>
                <a:gd name="connsiteY190" fmla="*/ 96581 h 303749"/>
                <a:gd name="connsiteX191" fmla="*/ 252085 w 303739"/>
                <a:gd name="connsiteY191" fmla="*/ 94217 h 303749"/>
                <a:gd name="connsiteX192" fmla="*/ 250630 w 303739"/>
                <a:gd name="connsiteY192" fmla="*/ 92034 h 303749"/>
                <a:gd name="connsiteX193" fmla="*/ 249175 w 303739"/>
                <a:gd name="connsiteY193" fmla="*/ 89670 h 303749"/>
                <a:gd name="connsiteX194" fmla="*/ 270637 w 303739"/>
                <a:gd name="connsiteY194" fmla="*/ 55839 h 303749"/>
                <a:gd name="connsiteX195" fmla="*/ 268273 w 303739"/>
                <a:gd name="connsiteY195" fmla="*/ 53475 h 303749"/>
                <a:gd name="connsiteX196" fmla="*/ 265181 w 303739"/>
                <a:gd name="connsiteY196" fmla="*/ 50382 h 303749"/>
                <a:gd name="connsiteX197" fmla="*/ 261361 w 303739"/>
                <a:gd name="connsiteY197" fmla="*/ 46563 h 303749"/>
                <a:gd name="connsiteX198" fmla="*/ 257360 w 303739"/>
                <a:gd name="connsiteY198" fmla="*/ 42379 h 303749"/>
                <a:gd name="connsiteX199" fmla="*/ 253358 w 303739"/>
                <a:gd name="connsiteY199" fmla="*/ 38560 h 303749"/>
                <a:gd name="connsiteX200" fmla="*/ 250266 w 303739"/>
                <a:gd name="connsiteY200" fmla="*/ 35468 h 303749"/>
                <a:gd name="connsiteX201" fmla="*/ 247902 w 303739"/>
                <a:gd name="connsiteY201" fmla="*/ 33103 h 303749"/>
                <a:gd name="connsiteX202" fmla="*/ 247174 w 303739"/>
                <a:gd name="connsiteY202" fmla="*/ 32376 h 303749"/>
                <a:gd name="connsiteX203" fmla="*/ 213163 w 303739"/>
                <a:gd name="connsiteY203" fmla="*/ 53656 h 303749"/>
                <a:gd name="connsiteX204" fmla="*/ 212981 w 303739"/>
                <a:gd name="connsiteY204" fmla="*/ 53656 h 303749"/>
                <a:gd name="connsiteX205" fmla="*/ 211526 w 303739"/>
                <a:gd name="connsiteY205" fmla="*/ 52565 h 303749"/>
                <a:gd name="connsiteX206" fmla="*/ 209889 w 303739"/>
                <a:gd name="connsiteY206" fmla="*/ 51656 h 303749"/>
                <a:gd name="connsiteX207" fmla="*/ 207888 w 303739"/>
                <a:gd name="connsiteY207" fmla="*/ 50564 h 303749"/>
                <a:gd name="connsiteX208" fmla="*/ 206070 w 303739"/>
                <a:gd name="connsiteY208" fmla="*/ 49473 h 303749"/>
                <a:gd name="connsiteX209" fmla="*/ 203887 w 303739"/>
                <a:gd name="connsiteY209" fmla="*/ 48382 h 303749"/>
                <a:gd name="connsiteX210" fmla="*/ 201886 w 303739"/>
                <a:gd name="connsiteY210" fmla="*/ 47472 h 303749"/>
                <a:gd name="connsiteX211" fmla="*/ 199522 w 303739"/>
                <a:gd name="connsiteY211" fmla="*/ 46381 h 303749"/>
                <a:gd name="connsiteX212" fmla="*/ 197158 w 303739"/>
                <a:gd name="connsiteY212" fmla="*/ 45290 h 303749"/>
                <a:gd name="connsiteX213" fmla="*/ 194793 w 303739"/>
                <a:gd name="connsiteY213" fmla="*/ 44198 h 303749"/>
                <a:gd name="connsiteX214" fmla="*/ 192247 w 303739"/>
                <a:gd name="connsiteY214" fmla="*/ 43471 h 303749"/>
                <a:gd name="connsiteX215" fmla="*/ 189701 w 303739"/>
                <a:gd name="connsiteY215" fmla="*/ 42561 h 303749"/>
                <a:gd name="connsiteX216" fmla="*/ 187154 w 303739"/>
                <a:gd name="connsiteY216" fmla="*/ 41470 h 303749"/>
                <a:gd name="connsiteX217" fmla="*/ 184426 w 303739"/>
                <a:gd name="connsiteY217" fmla="*/ 40924 h 303749"/>
                <a:gd name="connsiteX218" fmla="*/ 181880 w 303739"/>
                <a:gd name="connsiteY218" fmla="*/ 40015 h 303749"/>
                <a:gd name="connsiteX219" fmla="*/ 179152 w 303739"/>
                <a:gd name="connsiteY219" fmla="*/ 39469 h 303749"/>
                <a:gd name="connsiteX220" fmla="*/ 176787 w 303739"/>
                <a:gd name="connsiteY220" fmla="*/ 39106 h 3037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</a:cxnLst>
              <a:rect l="l" t="t" r="r" b="b"/>
              <a:pathLst>
                <a:path w="303739" h="303749">
                  <a:moveTo>
                    <a:pt x="151870" y="107906"/>
                  </a:moveTo>
                  <a:cubicBezTo>
                    <a:pt x="176150" y="107906"/>
                    <a:pt x="195833" y="127589"/>
                    <a:pt x="195833" y="151869"/>
                  </a:cubicBezTo>
                  <a:cubicBezTo>
                    <a:pt x="195833" y="176149"/>
                    <a:pt x="176150" y="195832"/>
                    <a:pt x="151870" y="195832"/>
                  </a:cubicBezTo>
                  <a:cubicBezTo>
                    <a:pt x="127590" y="195832"/>
                    <a:pt x="107907" y="176149"/>
                    <a:pt x="107907" y="151869"/>
                  </a:cubicBezTo>
                  <a:cubicBezTo>
                    <a:pt x="107907" y="127589"/>
                    <a:pt x="127590" y="107906"/>
                    <a:pt x="151870" y="107906"/>
                  </a:cubicBezTo>
                  <a:close/>
                  <a:moveTo>
                    <a:pt x="167875" y="0"/>
                  </a:moveTo>
                  <a:lnTo>
                    <a:pt x="164783" y="0"/>
                  </a:lnTo>
                  <a:lnTo>
                    <a:pt x="160236" y="0"/>
                  </a:lnTo>
                  <a:lnTo>
                    <a:pt x="154780" y="0"/>
                  </a:lnTo>
                  <a:lnTo>
                    <a:pt x="148959" y="0"/>
                  </a:lnTo>
                  <a:lnTo>
                    <a:pt x="143503" y="0"/>
                  </a:lnTo>
                  <a:lnTo>
                    <a:pt x="138956" y="0"/>
                  </a:lnTo>
                  <a:lnTo>
                    <a:pt x="135864" y="0"/>
                  </a:lnTo>
                  <a:lnTo>
                    <a:pt x="134591" y="0"/>
                  </a:lnTo>
                  <a:lnTo>
                    <a:pt x="125861" y="39106"/>
                  </a:lnTo>
                  <a:lnTo>
                    <a:pt x="125497" y="39287"/>
                  </a:lnTo>
                  <a:lnTo>
                    <a:pt x="123860" y="39651"/>
                  </a:lnTo>
                  <a:lnTo>
                    <a:pt x="122041" y="40015"/>
                  </a:lnTo>
                  <a:lnTo>
                    <a:pt x="119859" y="40561"/>
                  </a:lnTo>
                  <a:lnTo>
                    <a:pt x="117858" y="41106"/>
                  </a:lnTo>
                  <a:lnTo>
                    <a:pt x="115676" y="42016"/>
                  </a:lnTo>
                  <a:lnTo>
                    <a:pt x="113493" y="42743"/>
                  </a:lnTo>
                  <a:lnTo>
                    <a:pt x="111129" y="43653"/>
                  </a:lnTo>
                  <a:lnTo>
                    <a:pt x="108582" y="44562"/>
                  </a:lnTo>
                  <a:lnTo>
                    <a:pt x="106218" y="45472"/>
                  </a:lnTo>
                  <a:lnTo>
                    <a:pt x="103853" y="46563"/>
                  </a:lnTo>
                  <a:lnTo>
                    <a:pt x="101489" y="47836"/>
                  </a:lnTo>
                  <a:lnTo>
                    <a:pt x="98943" y="49109"/>
                  </a:lnTo>
                  <a:lnTo>
                    <a:pt x="96578" y="50382"/>
                  </a:lnTo>
                  <a:lnTo>
                    <a:pt x="94214" y="51656"/>
                  </a:lnTo>
                  <a:lnTo>
                    <a:pt x="92031" y="53111"/>
                  </a:lnTo>
                  <a:lnTo>
                    <a:pt x="89667" y="54566"/>
                  </a:lnTo>
                  <a:lnTo>
                    <a:pt x="55837" y="33103"/>
                  </a:lnTo>
                  <a:lnTo>
                    <a:pt x="53473" y="35468"/>
                  </a:lnTo>
                  <a:lnTo>
                    <a:pt x="50381" y="38560"/>
                  </a:lnTo>
                  <a:lnTo>
                    <a:pt x="46561" y="42379"/>
                  </a:lnTo>
                  <a:lnTo>
                    <a:pt x="42560" y="46381"/>
                  </a:lnTo>
                  <a:lnTo>
                    <a:pt x="38559" y="50382"/>
                  </a:lnTo>
                  <a:lnTo>
                    <a:pt x="35467" y="53475"/>
                  </a:lnTo>
                  <a:lnTo>
                    <a:pt x="33102" y="55839"/>
                  </a:lnTo>
                  <a:lnTo>
                    <a:pt x="32375" y="56567"/>
                  </a:lnTo>
                  <a:lnTo>
                    <a:pt x="53655" y="90579"/>
                  </a:lnTo>
                  <a:lnTo>
                    <a:pt x="53655" y="90943"/>
                  </a:lnTo>
                  <a:lnTo>
                    <a:pt x="52563" y="92398"/>
                  </a:lnTo>
                  <a:lnTo>
                    <a:pt x="51836" y="94217"/>
                  </a:lnTo>
                  <a:lnTo>
                    <a:pt x="50744" y="95854"/>
                  </a:lnTo>
                  <a:lnTo>
                    <a:pt x="49653" y="97673"/>
                  </a:lnTo>
                  <a:lnTo>
                    <a:pt x="48744" y="99855"/>
                  </a:lnTo>
                  <a:lnTo>
                    <a:pt x="47653" y="101856"/>
                  </a:lnTo>
                  <a:lnTo>
                    <a:pt x="46561" y="104221"/>
                  </a:lnTo>
                  <a:lnTo>
                    <a:pt x="45470" y="106585"/>
                  </a:lnTo>
                  <a:lnTo>
                    <a:pt x="44561" y="108950"/>
                  </a:lnTo>
                  <a:lnTo>
                    <a:pt x="43651" y="111496"/>
                  </a:lnTo>
                  <a:lnTo>
                    <a:pt x="42560" y="114042"/>
                  </a:lnTo>
                  <a:lnTo>
                    <a:pt x="41832" y="116589"/>
                  </a:lnTo>
                  <a:lnTo>
                    <a:pt x="41105" y="119317"/>
                  </a:lnTo>
                  <a:lnTo>
                    <a:pt x="40195" y="121864"/>
                  </a:lnTo>
                  <a:lnTo>
                    <a:pt x="39650" y="124592"/>
                  </a:lnTo>
                  <a:lnTo>
                    <a:pt x="39286" y="126956"/>
                  </a:lnTo>
                  <a:lnTo>
                    <a:pt x="0" y="136051"/>
                  </a:lnTo>
                  <a:lnTo>
                    <a:pt x="0" y="139143"/>
                  </a:lnTo>
                  <a:lnTo>
                    <a:pt x="0" y="143508"/>
                  </a:lnTo>
                  <a:lnTo>
                    <a:pt x="0" y="148964"/>
                  </a:lnTo>
                  <a:lnTo>
                    <a:pt x="0" y="154785"/>
                  </a:lnTo>
                  <a:lnTo>
                    <a:pt x="0" y="160241"/>
                  </a:lnTo>
                  <a:lnTo>
                    <a:pt x="0" y="164789"/>
                  </a:lnTo>
                  <a:lnTo>
                    <a:pt x="0" y="167881"/>
                  </a:lnTo>
                  <a:lnTo>
                    <a:pt x="0" y="169154"/>
                  </a:lnTo>
                  <a:lnTo>
                    <a:pt x="39286" y="177884"/>
                  </a:lnTo>
                  <a:lnTo>
                    <a:pt x="39468" y="178248"/>
                  </a:lnTo>
                  <a:lnTo>
                    <a:pt x="39832" y="179885"/>
                  </a:lnTo>
                  <a:lnTo>
                    <a:pt x="40195" y="181704"/>
                  </a:lnTo>
                  <a:lnTo>
                    <a:pt x="40741" y="183887"/>
                  </a:lnTo>
                  <a:lnTo>
                    <a:pt x="41287" y="185887"/>
                  </a:lnTo>
                  <a:lnTo>
                    <a:pt x="42196" y="188252"/>
                  </a:lnTo>
                  <a:lnTo>
                    <a:pt x="42924" y="190253"/>
                  </a:lnTo>
                  <a:lnTo>
                    <a:pt x="43833" y="192799"/>
                  </a:lnTo>
                  <a:lnTo>
                    <a:pt x="44742" y="195163"/>
                  </a:lnTo>
                  <a:lnTo>
                    <a:pt x="45652" y="197528"/>
                  </a:lnTo>
                  <a:lnTo>
                    <a:pt x="46743" y="199892"/>
                  </a:lnTo>
                  <a:lnTo>
                    <a:pt x="48016" y="202439"/>
                  </a:lnTo>
                  <a:lnTo>
                    <a:pt x="49289" y="204803"/>
                  </a:lnTo>
                  <a:lnTo>
                    <a:pt x="50563" y="207168"/>
                  </a:lnTo>
                  <a:lnTo>
                    <a:pt x="51836" y="209532"/>
                  </a:lnTo>
                  <a:lnTo>
                    <a:pt x="53291" y="211715"/>
                  </a:lnTo>
                  <a:lnTo>
                    <a:pt x="54746" y="214080"/>
                  </a:lnTo>
                  <a:lnTo>
                    <a:pt x="33284" y="247910"/>
                  </a:lnTo>
                  <a:lnTo>
                    <a:pt x="35648" y="250275"/>
                  </a:lnTo>
                  <a:lnTo>
                    <a:pt x="38740" y="253367"/>
                  </a:lnTo>
                  <a:lnTo>
                    <a:pt x="42560" y="257187"/>
                  </a:lnTo>
                  <a:lnTo>
                    <a:pt x="46743" y="261188"/>
                  </a:lnTo>
                  <a:lnTo>
                    <a:pt x="50563" y="265189"/>
                  </a:lnTo>
                  <a:lnTo>
                    <a:pt x="53655" y="268282"/>
                  </a:lnTo>
                  <a:lnTo>
                    <a:pt x="56019" y="270646"/>
                  </a:lnTo>
                  <a:lnTo>
                    <a:pt x="56928" y="271374"/>
                  </a:lnTo>
                  <a:lnTo>
                    <a:pt x="90758" y="250093"/>
                  </a:lnTo>
                  <a:lnTo>
                    <a:pt x="90940" y="250093"/>
                  </a:lnTo>
                  <a:lnTo>
                    <a:pt x="92395" y="251184"/>
                  </a:lnTo>
                  <a:lnTo>
                    <a:pt x="94214" y="251912"/>
                  </a:lnTo>
                  <a:lnTo>
                    <a:pt x="96033" y="253003"/>
                  </a:lnTo>
                  <a:lnTo>
                    <a:pt x="97851" y="254094"/>
                  </a:lnTo>
                  <a:lnTo>
                    <a:pt x="100034" y="255004"/>
                  </a:lnTo>
                  <a:lnTo>
                    <a:pt x="102035" y="256095"/>
                  </a:lnTo>
                  <a:lnTo>
                    <a:pt x="104399" y="257187"/>
                  </a:lnTo>
                  <a:lnTo>
                    <a:pt x="106763" y="258278"/>
                  </a:lnTo>
                  <a:lnTo>
                    <a:pt x="109310" y="259187"/>
                  </a:lnTo>
                  <a:lnTo>
                    <a:pt x="111674" y="260097"/>
                  </a:lnTo>
                  <a:lnTo>
                    <a:pt x="114220" y="261188"/>
                  </a:lnTo>
                  <a:lnTo>
                    <a:pt x="116767" y="261916"/>
                  </a:lnTo>
                  <a:lnTo>
                    <a:pt x="119313" y="262643"/>
                  </a:lnTo>
                  <a:lnTo>
                    <a:pt x="121859" y="263553"/>
                  </a:lnTo>
                  <a:lnTo>
                    <a:pt x="124588" y="264098"/>
                  </a:lnTo>
                  <a:lnTo>
                    <a:pt x="126952" y="264462"/>
                  </a:lnTo>
                  <a:lnTo>
                    <a:pt x="136046" y="303749"/>
                  </a:lnTo>
                  <a:lnTo>
                    <a:pt x="139138" y="303749"/>
                  </a:lnTo>
                  <a:lnTo>
                    <a:pt x="143867" y="303749"/>
                  </a:lnTo>
                  <a:lnTo>
                    <a:pt x="148959" y="303749"/>
                  </a:lnTo>
                  <a:lnTo>
                    <a:pt x="154962" y="303749"/>
                  </a:lnTo>
                  <a:lnTo>
                    <a:pt x="160236" y="303749"/>
                  </a:lnTo>
                  <a:lnTo>
                    <a:pt x="164783" y="303749"/>
                  </a:lnTo>
                  <a:lnTo>
                    <a:pt x="167875" y="303749"/>
                  </a:lnTo>
                  <a:lnTo>
                    <a:pt x="169148" y="303749"/>
                  </a:lnTo>
                  <a:lnTo>
                    <a:pt x="178242" y="264462"/>
                  </a:lnTo>
                  <a:lnTo>
                    <a:pt x="178424" y="264280"/>
                  </a:lnTo>
                  <a:lnTo>
                    <a:pt x="180061" y="263916"/>
                  </a:lnTo>
                  <a:lnTo>
                    <a:pt x="181880" y="263553"/>
                  </a:lnTo>
                  <a:lnTo>
                    <a:pt x="184062" y="263007"/>
                  </a:lnTo>
                  <a:lnTo>
                    <a:pt x="186063" y="262461"/>
                  </a:lnTo>
                  <a:lnTo>
                    <a:pt x="188245" y="261552"/>
                  </a:lnTo>
                  <a:lnTo>
                    <a:pt x="190610" y="260824"/>
                  </a:lnTo>
                  <a:lnTo>
                    <a:pt x="192792" y="259915"/>
                  </a:lnTo>
                  <a:lnTo>
                    <a:pt x="195339" y="259005"/>
                  </a:lnTo>
                  <a:lnTo>
                    <a:pt x="197703" y="258096"/>
                  </a:lnTo>
                  <a:lnTo>
                    <a:pt x="200250" y="257005"/>
                  </a:lnTo>
                  <a:lnTo>
                    <a:pt x="202432" y="255731"/>
                  </a:lnTo>
                  <a:lnTo>
                    <a:pt x="204978" y="254458"/>
                  </a:lnTo>
                  <a:lnTo>
                    <a:pt x="207343" y="253185"/>
                  </a:lnTo>
                  <a:lnTo>
                    <a:pt x="209525" y="251912"/>
                  </a:lnTo>
                  <a:lnTo>
                    <a:pt x="211890" y="250457"/>
                  </a:lnTo>
                  <a:lnTo>
                    <a:pt x="214072" y="249002"/>
                  </a:lnTo>
                  <a:lnTo>
                    <a:pt x="247902" y="270464"/>
                  </a:lnTo>
                  <a:lnTo>
                    <a:pt x="250266" y="268100"/>
                  </a:lnTo>
                  <a:lnTo>
                    <a:pt x="253358" y="265008"/>
                  </a:lnTo>
                  <a:lnTo>
                    <a:pt x="257178" y="261188"/>
                  </a:lnTo>
                  <a:lnTo>
                    <a:pt x="261361" y="257005"/>
                  </a:lnTo>
                  <a:lnTo>
                    <a:pt x="265181" y="253185"/>
                  </a:lnTo>
                  <a:lnTo>
                    <a:pt x="268273" y="250093"/>
                  </a:lnTo>
                  <a:lnTo>
                    <a:pt x="270637" y="247728"/>
                  </a:lnTo>
                  <a:lnTo>
                    <a:pt x="271364" y="246819"/>
                  </a:lnTo>
                  <a:lnTo>
                    <a:pt x="250085" y="212988"/>
                  </a:lnTo>
                  <a:lnTo>
                    <a:pt x="250085" y="212806"/>
                  </a:lnTo>
                  <a:lnTo>
                    <a:pt x="251176" y="211351"/>
                  </a:lnTo>
                  <a:lnTo>
                    <a:pt x="252085" y="209532"/>
                  </a:lnTo>
                  <a:lnTo>
                    <a:pt x="253176" y="207895"/>
                  </a:lnTo>
                  <a:lnTo>
                    <a:pt x="254268" y="205895"/>
                  </a:lnTo>
                  <a:lnTo>
                    <a:pt x="255359" y="203894"/>
                  </a:lnTo>
                  <a:lnTo>
                    <a:pt x="256268" y="201711"/>
                  </a:lnTo>
                  <a:lnTo>
                    <a:pt x="257360" y="199529"/>
                  </a:lnTo>
                  <a:lnTo>
                    <a:pt x="258451" y="196982"/>
                  </a:lnTo>
                  <a:lnTo>
                    <a:pt x="259542" y="194800"/>
                  </a:lnTo>
                  <a:lnTo>
                    <a:pt x="260270" y="192253"/>
                  </a:lnTo>
                  <a:lnTo>
                    <a:pt x="261179" y="189707"/>
                  </a:lnTo>
                  <a:lnTo>
                    <a:pt x="262270" y="186979"/>
                  </a:lnTo>
                  <a:lnTo>
                    <a:pt x="262816" y="184432"/>
                  </a:lnTo>
                  <a:lnTo>
                    <a:pt x="263726" y="181886"/>
                  </a:lnTo>
                  <a:lnTo>
                    <a:pt x="264271" y="179157"/>
                  </a:lnTo>
                  <a:lnTo>
                    <a:pt x="264635" y="176793"/>
                  </a:lnTo>
                  <a:lnTo>
                    <a:pt x="303739" y="167699"/>
                  </a:lnTo>
                  <a:lnTo>
                    <a:pt x="303739" y="164607"/>
                  </a:lnTo>
                  <a:lnTo>
                    <a:pt x="303739" y="159878"/>
                  </a:lnTo>
                  <a:lnTo>
                    <a:pt x="303739" y="154785"/>
                  </a:lnTo>
                  <a:lnTo>
                    <a:pt x="303739" y="148783"/>
                  </a:lnTo>
                  <a:lnTo>
                    <a:pt x="303739" y="143508"/>
                  </a:lnTo>
                  <a:lnTo>
                    <a:pt x="303739" y="138961"/>
                  </a:lnTo>
                  <a:lnTo>
                    <a:pt x="303739" y="135869"/>
                  </a:lnTo>
                  <a:lnTo>
                    <a:pt x="303739" y="134595"/>
                  </a:lnTo>
                  <a:lnTo>
                    <a:pt x="264635" y="125501"/>
                  </a:lnTo>
                  <a:lnTo>
                    <a:pt x="264453" y="125501"/>
                  </a:lnTo>
                  <a:lnTo>
                    <a:pt x="264089" y="123864"/>
                  </a:lnTo>
                  <a:lnTo>
                    <a:pt x="263726" y="122045"/>
                  </a:lnTo>
                  <a:lnTo>
                    <a:pt x="263180" y="119863"/>
                  </a:lnTo>
                  <a:lnTo>
                    <a:pt x="262634" y="117862"/>
                  </a:lnTo>
                  <a:lnTo>
                    <a:pt x="261725" y="115498"/>
                  </a:lnTo>
                  <a:lnTo>
                    <a:pt x="260997" y="113133"/>
                  </a:lnTo>
                  <a:lnTo>
                    <a:pt x="260088" y="110950"/>
                  </a:lnTo>
                  <a:lnTo>
                    <a:pt x="259179" y="108586"/>
                  </a:lnTo>
                  <a:lnTo>
                    <a:pt x="258269" y="106221"/>
                  </a:lnTo>
                  <a:lnTo>
                    <a:pt x="257178" y="103857"/>
                  </a:lnTo>
                  <a:lnTo>
                    <a:pt x="255905" y="101310"/>
                  </a:lnTo>
                  <a:lnTo>
                    <a:pt x="254632" y="98946"/>
                  </a:lnTo>
                  <a:lnTo>
                    <a:pt x="253358" y="96581"/>
                  </a:lnTo>
                  <a:lnTo>
                    <a:pt x="252085" y="94217"/>
                  </a:lnTo>
                  <a:lnTo>
                    <a:pt x="250630" y="92034"/>
                  </a:lnTo>
                  <a:lnTo>
                    <a:pt x="249175" y="89670"/>
                  </a:lnTo>
                  <a:lnTo>
                    <a:pt x="270637" y="55839"/>
                  </a:lnTo>
                  <a:lnTo>
                    <a:pt x="268273" y="53475"/>
                  </a:lnTo>
                  <a:lnTo>
                    <a:pt x="265181" y="50382"/>
                  </a:lnTo>
                  <a:lnTo>
                    <a:pt x="261361" y="46563"/>
                  </a:lnTo>
                  <a:lnTo>
                    <a:pt x="257360" y="42379"/>
                  </a:lnTo>
                  <a:lnTo>
                    <a:pt x="253358" y="38560"/>
                  </a:lnTo>
                  <a:lnTo>
                    <a:pt x="250266" y="35468"/>
                  </a:lnTo>
                  <a:lnTo>
                    <a:pt x="247902" y="33103"/>
                  </a:lnTo>
                  <a:lnTo>
                    <a:pt x="247174" y="32376"/>
                  </a:lnTo>
                  <a:lnTo>
                    <a:pt x="213163" y="53656"/>
                  </a:lnTo>
                  <a:lnTo>
                    <a:pt x="212981" y="53656"/>
                  </a:lnTo>
                  <a:lnTo>
                    <a:pt x="211526" y="52565"/>
                  </a:lnTo>
                  <a:lnTo>
                    <a:pt x="209889" y="51656"/>
                  </a:lnTo>
                  <a:lnTo>
                    <a:pt x="207888" y="50564"/>
                  </a:lnTo>
                  <a:lnTo>
                    <a:pt x="206070" y="49473"/>
                  </a:lnTo>
                  <a:lnTo>
                    <a:pt x="203887" y="48382"/>
                  </a:lnTo>
                  <a:lnTo>
                    <a:pt x="201886" y="47472"/>
                  </a:lnTo>
                  <a:lnTo>
                    <a:pt x="199522" y="46381"/>
                  </a:lnTo>
                  <a:lnTo>
                    <a:pt x="197158" y="45290"/>
                  </a:lnTo>
                  <a:lnTo>
                    <a:pt x="194793" y="44198"/>
                  </a:lnTo>
                  <a:lnTo>
                    <a:pt x="192247" y="43471"/>
                  </a:lnTo>
                  <a:lnTo>
                    <a:pt x="189701" y="42561"/>
                  </a:lnTo>
                  <a:lnTo>
                    <a:pt x="187154" y="41470"/>
                  </a:lnTo>
                  <a:lnTo>
                    <a:pt x="184426" y="40924"/>
                  </a:lnTo>
                  <a:lnTo>
                    <a:pt x="181880" y="40015"/>
                  </a:lnTo>
                  <a:lnTo>
                    <a:pt x="179152" y="39469"/>
                  </a:lnTo>
                  <a:lnTo>
                    <a:pt x="176787" y="39106"/>
                  </a:lnTo>
                  <a:close/>
                </a:path>
              </a:pathLst>
            </a:custGeom>
            <a:noFill/>
            <a:ln w="12700" cap="flat">
              <a:solidFill>
                <a:schemeClr val="accent6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</a:bodyPr>
            <a:lstStyle/>
            <a:p>
              <a:endParaRPr lang="en-GB" kern="0" dirty="0">
                <a:solidFill>
                  <a:srgbClr val="404955"/>
                </a:solidFill>
                <a:latin typeface="Arial"/>
              </a:endParaRPr>
            </a:p>
          </p:txBody>
        </p:sp>
      </p:grpSp>
      <p:grpSp>
        <p:nvGrpSpPr>
          <p:cNvPr id="139" name="Group 138">
            <a:extLst>
              <a:ext uri="{FF2B5EF4-FFF2-40B4-BE49-F238E27FC236}">
                <a16:creationId xmlns:a16="http://schemas.microsoft.com/office/drawing/2014/main" id="{4120E42F-76E3-9C2D-3382-BD2F7F068BED}"/>
              </a:ext>
            </a:extLst>
          </p:cNvPr>
          <p:cNvGrpSpPr>
            <a:grpSpLocks noChangeAspect="1"/>
          </p:cNvGrpSpPr>
          <p:nvPr/>
        </p:nvGrpSpPr>
        <p:grpSpPr>
          <a:xfrm>
            <a:off x="8381019" y="1523920"/>
            <a:ext cx="322297" cy="360000"/>
            <a:chOff x="5291619" y="5518489"/>
            <a:chExt cx="973500" cy="1087382"/>
          </a:xfrm>
        </p:grpSpPr>
        <p:grpSp>
          <p:nvGrpSpPr>
            <p:cNvPr id="123" name="Gruppieren 44">
              <a:extLst>
                <a:ext uri="{FF2B5EF4-FFF2-40B4-BE49-F238E27FC236}">
                  <a16:creationId xmlns:a16="http://schemas.microsoft.com/office/drawing/2014/main" id="{0A2C6584-D58B-D4E6-806C-F01BC58E8B20}"/>
                </a:ext>
              </a:extLst>
            </p:cNvPr>
            <p:cNvGrpSpPr/>
            <p:nvPr/>
          </p:nvGrpSpPr>
          <p:grpSpPr>
            <a:xfrm>
              <a:off x="5816697" y="6154094"/>
              <a:ext cx="448422" cy="451777"/>
              <a:chOff x="6562726" y="6648171"/>
              <a:chExt cx="636587" cy="641350"/>
            </a:xfrm>
          </p:grpSpPr>
          <p:sp>
            <p:nvSpPr>
              <p:cNvPr id="134" name="Freeform 270">
                <a:extLst>
                  <a:ext uri="{FF2B5EF4-FFF2-40B4-BE49-F238E27FC236}">
                    <a16:creationId xmlns:a16="http://schemas.microsoft.com/office/drawing/2014/main" id="{0DBBD58E-A519-2AF4-D834-D9DB6B40C34A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6562726" y="6724371"/>
                <a:ext cx="444500" cy="565150"/>
              </a:xfrm>
              <a:custGeom>
                <a:avLst/>
                <a:gdLst>
                  <a:gd name="T0" fmla="*/ 29 w 118"/>
                  <a:gd name="T1" fmla="*/ 0 h 150"/>
                  <a:gd name="T2" fmla="*/ 0 w 118"/>
                  <a:gd name="T3" fmla="*/ 65 h 150"/>
                  <a:gd name="T4" fmla="*/ 84 w 118"/>
                  <a:gd name="T5" fmla="*/ 150 h 150"/>
                  <a:gd name="T6" fmla="*/ 118 w 118"/>
                  <a:gd name="T7" fmla="*/ 143 h 1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18" h="150">
                    <a:moveTo>
                      <a:pt x="29" y="0"/>
                    </a:moveTo>
                    <a:cubicBezTo>
                      <a:pt x="11" y="16"/>
                      <a:pt x="0" y="39"/>
                      <a:pt x="0" y="65"/>
                    </a:cubicBezTo>
                    <a:cubicBezTo>
                      <a:pt x="0" y="112"/>
                      <a:pt x="38" y="150"/>
                      <a:pt x="84" y="150"/>
                    </a:cubicBezTo>
                    <a:cubicBezTo>
                      <a:pt x="96" y="150"/>
                      <a:pt x="108" y="147"/>
                      <a:pt x="118" y="143"/>
                    </a:cubicBezTo>
                  </a:path>
                </a:pathLst>
              </a:custGeom>
              <a:noFill/>
              <a:ln w="12700" cap="rnd">
                <a:solidFill>
                  <a:schemeClr val="accent6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135" name="Freeform 271">
                <a:extLst>
                  <a:ext uri="{FF2B5EF4-FFF2-40B4-BE49-F238E27FC236}">
                    <a16:creationId xmlns:a16="http://schemas.microsoft.com/office/drawing/2014/main" id="{242ED244-DA6D-366A-DA04-404E5C4D5E5D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6754813" y="6648171"/>
                <a:ext cx="444500" cy="561975"/>
              </a:xfrm>
              <a:custGeom>
                <a:avLst/>
                <a:gdLst>
                  <a:gd name="T0" fmla="*/ 89 w 118"/>
                  <a:gd name="T1" fmla="*/ 149 h 149"/>
                  <a:gd name="T2" fmla="*/ 118 w 118"/>
                  <a:gd name="T3" fmla="*/ 85 h 149"/>
                  <a:gd name="T4" fmla="*/ 33 w 118"/>
                  <a:gd name="T5" fmla="*/ 0 h 149"/>
                  <a:gd name="T6" fmla="*/ 0 w 118"/>
                  <a:gd name="T7" fmla="*/ 7 h 1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18" h="149">
                    <a:moveTo>
                      <a:pt x="89" y="149"/>
                    </a:moveTo>
                    <a:cubicBezTo>
                      <a:pt x="107" y="134"/>
                      <a:pt x="118" y="111"/>
                      <a:pt x="118" y="85"/>
                    </a:cubicBezTo>
                    <a:cubicBezTo>
                      <a:pt x="118" y="38"/>
                      <a:pt x="80" y="0"/>
                      <a:pt x="33" y="0"/>
                    </a:cubicBezTo>
                    <a:cubicBezTo>
                      <a:pt x="22" y="0"/>
                      <a:pt x="10" y="2"/>
                      <a:pt x="0" y="7"/>
                    </a:cubicBezTo>
                  </a:path>
                </a:pathLst>
              </a:custGeom>
              <a:noFill/>
              <a:ln w="12700" cap="rnd">
                <a:solidFill>
                  <a:schemeClr val="accent6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136" name="Freeform 272">
                <a:extLst>
                  <a:ext uri="{FF2B5EF4-FFF2-40B4-BE49-F238E27FC236}">
                    <a16:creationId xmlns:a16="http://schemas.microsoft.com/office/drawing/2014/main" id="{1B39F798-45EF-5A94-AECE-96DBFA268C7F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6573838" y="6724371"/>
                <a:ext cx="101600" cy="101600"/>
              </a:xfrm>
              <a:custGeom>
                <a:avLst/>
                <a:gdLst>
                  <a:gd name="T0" fmla="*/ 0 w 64"/>
                  <a:gd name="T1" fmla="*/ 0 h 64"/>
                  <a:gd name="T2" fmla="*/ 64 w 64"/>
                  <a:gd name="T3" fmla="*/ 0 h 64"/>
                  <a:gd name="T4" fmla="*/ 64 w 64"/>
                  <a:gd name="T5" fmla="*/ 64 h 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64" h="64">
                    <a:moveTo>
                      <a:pt x="0" y="0"/>
                    </a:moveTo>
                    <a:lnTo>
                      <a:pt x="64" y="0"/>
                    </a:lnTo>
                    <a:lnTo>
                      <a:pt x="64" y="64"/>
                    </a:lnTo>
                  </a:path>
                </a:pathLst>
              </a:custGeom>
              <a:noFill/>
              <a:ln w="12700" cap="rnd">
                <a:solidFill>
                  <a:schemeClr val="accent6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137" name="Freeform 273">
                <a:extLst>
                  <a:ext uri="{FF2B5EF4-FFF2-40B4-BE49-F238E27FC236}">
                    <a16:creationId xmlns:a16="http://schemas.microsoft.com/office/drawing/2014/main" id="{9A4A3B17-526B-785C-F279-2F564669CB47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7086601" y="7108546"/>
                <a:ext cx="101600" cy="101600"/>
              </a:xfrm>
              <a:custGeom>
                <a:avLst/>
                <a:gdLst>
                  <a:gd name="T0" fmla="*/ 0 w 64"/>
                  <a:gd name="T1" fmla="*/ 0 h 64"/>
                  <a:gd name="T2" fmla="*/ 0 w 64"/>
                  <a:gd name="T3" fmla="*/ 64 h 64"/>
                  <a:gd name="T4" fmla="*/ 64 w 64"/>
                  <a:gd name="T5" fmla="*/ 64 h 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64" h="64">
                    <a:moveTo>
                      <a:pt x="0" y="0"/>
                    </a:moveTo>
                    <a:lnTo>
                      <a:pt x="0" y="64"/>
                    </a:lnTo>
                    <a:lnTo>
                      <a:pt x="64" y="64"/>
                    </a:lnTo>
                  </a:path>
                </a:pathLst>
              </a:custGeom>
              <a:noFill/>
              <a:ln w="12700" cap="rnd">
                <a:solidFill>
                  <a:schemeClr val="accent6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138" name="Freeform 275">
                <a:extLst>
                  <a:ext uri="{FF2B5EF4-FFF2-40B4-BE49-F238E27FC236}">
                    <a16:creationId xmlns:a16="http://schemas.microsoft.com/office/drawing/2014/main" id="{3EBA6D7F-EB74-2CBB-757B-902C1F2BDD85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6726520" y="6879608"/>
                <a:ext cx="309000" cy="203876"/>
              </a:xfrm>
              <a:custGeom>
                <a:avLst/>
                <a:gdLst>
                  <a:gd name="T0" fmla="*/ 97 w 97"/>
                  <a:gd name="T1" fmla="*/ 0 h 64"/>
                  <a:gd name="T2" fmla="*/ 64 w 97"/>
                  <a:gd name="T3" fmla="*/ 31 h 64"/>
                  <a:gd name="T4" fmla="*/ 33 w 97"/>
                  <a:gd name="T5" fmla="*/ 64 h 64"/>
                  <a:gd name="T6" fmla="*/ 0 w 97"/>
                  <a:gd name="T7" fmla="*/ 31 h 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97" h="64">
                    <a:moveTo>
                      <a:pt x="97" y="0"/>
                    </a:moveTo>
                    <a:lnTo>
                      <a:pt x="64" y="31"/>
                    </a:lnTo>
                    <a:lnTo>
                      <a:pt x="33" y="64"/>
                    </a:lnTo>
                    <a:lnTo>
                      <a:pt x="0" y="31"/>
                    </a:lnTo>
                  </a:path>
                </a:pathLst>
              </a:custGeom>
              <a:noFill/>
              <a:ln w="12700" cap="rnd">
                <a:solidFill>
                  <a:schemeClr val="accent6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</p:grpSp>
        <p:grpSp>
          <p:nvGrpSpPr>
            <p:cNvPr id="124" name="Gruppieren 109">
              <a:extLst>
                <a:ext uri="{FF2B5EF4-FFF2-40B4-BE49-F238E27FC236}">
                  <a16:creationId xmlns:a16="http://schemas.microsoft.com/office/drawing/2014/main" id="{4BFE3D79-8F7A-272E-3BA6-64FA4F61D6C0}"/>
                </a:ext>
              </a:extLst>
            </p:cNvPr>
            <p:cNvGrpSpPr/>
            <p:nvPr/>
          </p:nvGrpSpPr>
          <p:grpSpPr>
            <a:xfrm>
              <a:off x="5291619" y="5518489"/>
              <a:ext cx="768531" cy="908932"/>
              <a:chOff x="937828" y="9556851"/>
              <a:chExt cx="614363" cy="678269"/>
            </a:xfrm>
          </p:grpSpPr>
          <p:sp>
            <p:nvSpPr>
              <p:cNvPr id="125" name="Rectangle 228">
                <a:extLst>
                  <a:ext uri="{FF2B5EF4-FFF2-40B4-BE49-F238E27FC236}">
                    <a16:creationId xmlns:a16="http://schemas.microsoft.com/office/drawing/2014/main" id="{CA9C6A6C-5240-499C-A768-A73F47368B8E}"/>
                  </a:ext>
                </a:extLst>
              </p:cNvPr>
              <p:cNvSpPr>
                <a:spLocks noChangeAspect="1" noChangeArrowheads="1"/>
              </p:cNvSpPr>
              <p:nvPr/>
            </p:nvSpPr>
            <p:spPr bwMode="auto">
              <a:xfrm>
                <a:off x="1118803" y="9631811"/>
                <a:ext cx="74613" cy="76200"/>
              </a:xfrm>
              <a:prstGeom prst="rect">
                <a:avLst/>
              </a:prstGeom>
              <a:noFill/>
              <a:ln w="12700" cap="flat">
                <a:solidFill>
                  <a:schemeClr val="tx1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126" name="Line 229">
                <a:extLst>
                  <a:ext uri="{FF2B5EF4-FFF2-40B4-BE49-F238E27FC236}">
                    <a16:creationId xmlns:a16="http://schemas.microsoft.com/office/drawing/2014/main" id="{C0077DFA-B3B7-CC88-D138-2FF1CE718492}"/>
                  </a:ext>
                </a:extLst>
              </p:cNvPr>
              <p:cNvSpPr>
                <a:spLocks noChangeAspect="1" noChangeShapeType="1"/>
              </p:cNvSpPr>
              <p:nvPr/>
            </p:nvSpPr>
            <p:spPr bwMode="auto">
              <a:xfrm>
                <a:off x="1374390" y="9658798"/>
                <a:ext cx="101600" cy="0"/>
              </a:xfrm>
              <a:prstGeom prst="line">
                <a:avLst/>
              </a:prstGeom>
              <a:noFill/>
              <a:ln w="12700" cap="rnd">
                <a:solidFill>
                  <a:schemeClr val="tx1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127" name="Line 230">
                <a:extLst>
                  <a:ext uri="{FF2B5EF4-FFF2-40B4-BE49-F238E27FC236}">
                    <a16:creationId xmlns:a16="http://schemas.microsoft.com/office/drawing/2014/main" id="{1C2C4190-3894-7C03-7FDC-C7FE4AAE8CC2}"/>
                  </a:ext>
                </a:extLst>
              </p:cNvPr>
              <p:cNvSpPr>
                <a:spLocks noChangeAspect="1" noChangeShapeType="1"/>
              </p:cNvSpPr>
              <p:nvPr/>
            </p:nvSpPr>
            <p:spPr bwMode="auto">
              <a:xfrm>
                <a:off x="1118802" y="9848994"/>
                <a:ext cx="344487" cy="0"/>
              </a:xfrm>
              <a:prstGeom prst="line">
                <a:avLst/>
              </a:prstGeom>
              <a:noFill/>
              <a:ln w="12700" cap="rnd">
                <a:solidFill>
                  <a:schemeClr val="tx1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128" name="Line 231">
                <a:extLst>
                  <a:ext uri="{FF2B5EF4-FFF2-40B4-BE49-F238E27FC236}">
                    <a16:creationId xmlns:a16="http://schemas.microsoft.com/office/drawing/2014/main" id="{CF369033-3EEF-40F2-3B69-E72C09841DD6}"/>
                  </a:ext>
                </a:extLst>
              </p:cNvPr>
              <p:cNvSpPr>
                <a:spLocks noChangeAspect="1" noChangeShapeType="1"/>
              </p:cNvSpPr>
              <p:nvPr/>
            </p:nvSpPr>
            <p:spPr bwMode="auto">
              <a:xfrm>
                <a:off x="1220403" y="9760398"/>
                <a:ext cx="49213" cy="0"/>
              </a:xfrm>
              <a:prstGeom prst="line">
                <a:avLst/>
              </a:prstGeom>
              <a:noFill/>
              <a:ln w="12700" cap="rnd">
                <a:solidFill>
                  <a:schemeClr val="tx1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129" name="Line 232">
                <a:extLst>
                  <a:ext uri="{FF2B5EF4-FFF2-40B4-BE49-F238E27FC236}">
                    <a16:creationId xmlns:a16="http://schemas.microsoft.com/office/drawing/2014/main" id="{0E1AE9E7-6857-B457-D0F6-E6278811A687}"/>
                  </a:ext>
                </a:extLst>
              </p:cNvPr>
              <p:cNvSpPr>
                <a:spLocks noChangeAspect="1" noChangeShapeType="1"/>
              </p:cNvSpPr>
              <p:nvPr/>
            </p:nvSpPr>
            <p:spPr bwMode="auto">
              <a:xfrm>
                <a:off x="1118803" y="9760398"/>
                <a:ext cx="49213" cy="0"/>
              </a:xfrm>
              <a:prstGeom prst="line">
                <a:avLst/>
              </a:prstGeom>
              <a:noFill/>
              <a:ln w="12700" cap="rnd">
                <a:solidFill>
                  <a:schemeClr val="tx1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130" name="Freeform 240">
                <a:extLst>
                  <a:ext uri="{FF2B5EF4-FFF2-40B4-BE49-F238E27FC236}">
                    <a16:creationId xmlns:a16="http://schemas.microsoft.com/office/drawing/2014/main" id="{4F7DBC3E-ED13-E70C-71F7-33379D453050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937828" y="9658797"/>
                <a:ext cx="376238" cy="576323"/>
              </a:xfrm>
              <a:custGeom>
                <a:avLst/>
                <a:gdLst>
                  <a:gd name="T0" fmla="*/ 27 w 100"/>
                  <a:gd name="T1" fmla="*/ 0 h 95"/>
                  <a:gd name="T2" fmla="*/ 10 w 100"/>
                  <a:gd name="T3" fmla="*/ 0 h 95"/>
                  <a:gd name="T4" fmla="*/ 0 w 100"/>
                  <a:gd name="T5" fmla="*/ 10 h 95"/>
                  <a:gd name="T6" fmla="*/ 0 w 100"/>
                  <a:gd name="T7" fmla="*/ 85 h 95"/>
                  <a:gd name="T8" fmla="*/ 10 w 100"/>
                  <a:gd name="T9" fmla="*/ 95 h 95"/>
                  <a:gd name="T10" fmla="*/ 100 w 100"/>
                  <a:gd name="T11" fmla="*/ 95 h 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00" h="95">
                    <a:moveTo>
                      <a:pt x="27" y="0"/>
                    </a:moveTo>
                    <a:cubicBezTo>
                      <a:pt x="10" y="0"/>
                      <a:pt x="10" y="0"/>
                      <a:pt x="10" y="0"/>
                    </a:cubicBezTo>
                    <a:cubicBezTo>
                      <a:pt x="5" y="0"/>
                      <a:pt x="0" y="4"/>
                      <a:pt x="0" y="10"/>
                    </a:cubicBezTo>
                    <a:cubicBezTo>
                      <a:pt x="0" y="85"/>
                      <a:pt x="0" y="85"/>
                      <a:pt x="0" y="85"/>
                    </a:cubicBezTo>
                    <a:cubicBezTo>
                      <a:pt x="0" y="90"/>
                      <a:pt x="5" y="95"/>
                      <a:pt x="10" y="95"/>
                    </a:cubicBezTo>
                    <a:cubicBezTo>
                      <a:pt x="100" y="95"/>
                      <a:pt x="100" y="95"/>
                      <a:pt x="100" y="95"/>
                    </a:cubicBezTo>
                  </a:path>
                </a:pathLst>
              </a:custGeom>
              <a:noFill/>
              <a:ln w="12700" cap="flat">
                <a:solidFill>
                  <a:schemeClr val="tx1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131" name="Freeform 241">
                <a:extLst>
                  <a:ext uri="{FF2B5EF4-FFF2-40B4-BE49-F238E27FC236}">
                    <a16:creationId xmlns:a16="http://schemas.microsoft.com/office/drawing/2014/main" id="{B0B4CA6B-5D90-EE5F-A0C1-C17C2A74B0E9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1039428" y="9556851"/>
                <a:ext cx="512763" cy="576669"/>
              </a:xfrm>
              <a:custGeom>
                <a:avLst/>
                <a:gdLst>
                  <a:gd name="T0" fmla="*/ 136 w 136"/>
                  <a:gd name="T1" fmla="*/ 49 h 95"/>
                  <a:gd name="T2" fmla="*/ 136 w 136"/>
                  <a:gd name="T3" fmla="*/ 10 h 95"/>
                  <a:gd name="T4" fmla="*/ 126 w 136"/>
                  <a:gd name="T5" fmla="*/ 0 h 95"/>
                  <a:gd name="T6" fmla="*/ 11 w 136"/>
                  <a:gd name="T7" fmla="*/ 0 h 95"/>
                  <a:gd name="T8" fmla="*/ 0 w 136"/>
                  <a:gd name="T9" fmla="*/ 10 h 95"/>
                  <a:gd name="T10" fmla="*/ 0 w 136"/>
                  <a:gd name="T11" fmla="*/ 85 h 95"/>
                  <a:gd name="T12" fmla="*/ 11 w 136"/>
                  <a:gd name="T13" fmla="*/ 95 h 95"/>
                  <a:gd name="T14" fmla="*/ 68 w 136"/>
                  <a:gd name="T15" fmla="*/ 95 h 95"/>
                  <a:gd name="connsiteX0" fmla="*/ 9954 w 10041"/>
                  <a:gd name="connsiteY0" fmla="*/ 7230 h 10006"/>
                  <a:gd name="connsiteX1" fmla="*/ 10000 w 10041"/>
                  <a:gd name="connsiteY1" fmla="*/ 1059 h 10006"/>
                  <a:gd name="connsiteX2" fmla="*/ 9265 w 10041"/>
                  <a:gd name="connsiteY2" fmla="*/ 6 h 10006"/>
                  <a:gd name="connsiteX3" fmla="*/ 809 w 10041"/>
                  <a:gd name="connsiteY3" fmla="*/ 6 h 10006"/>
                  <a:gd name="connsiteX4" fmla="*/ 0 w 10041"/>
                  <a:gd name="connsiteY4" fmla="*/ 1059 h 10006"/>
                  <a:gd name="connsiteX5" fmla="*/ 0 w 10041"/>
                  <a:gd name="connsiteY5" fmla="*/ 8953 h 10006"/>
                  <a:gd name="connsiteX6" fmla="*/ 809 w 10041"/>
                  <a:gd name="connsiteY6" fmla="*/ 10006 h 10006"/>
                  <a:gd name="connsiteX7" fmla="*/ 5000 w 10041"/>
                  <a:gd name="connsiteY7" fmla="*/ 10006 h 10006"/>
                  <a:gd name="connsiteX0" fmla="*/ 9954 w 10000"/>
                  <a:gd name="connsiteY0" fmla="*/ 7230 h 10006"/>
                  <a:gd name="connsiteX1" fmla="*/ 10000 w 10000"/>
                  <a:gd name="connsiteY1" fmla="*/ 1059 h 10006"/>
                  <a:gd name="connsiteX2" fmla="*/ 9265 w 10000"/>
                  <a:gd name="connsiteY2" fmla="*/ 6 h 10006"/>
                  <a:gd name="connsiteX3" fmla="*/ 809 w 10000"/>
                  <a:gd name="connsiteY3" fmla="*/ 6 h 10006"/>
                  <a:gd name="connsiteX4" fmla="*/ 0 w 10000"/>
                  <a:gd name="connsiteY4" fmla="*/ 1059 h 10006"/>
                  <a:gd name="connsiteX5" fmla="*/ 0 w 10000"/>
                  <a:gd name="connsiteY5" fmla="*/ 8953 h 10006"/>
                  <a:gd name="connsiteX6" fmla="*/ 809 w 10000"/>
                  <a:gd name="connsiteY6" fmla="*/ 10006 h 10006"/>
                  <a:gd name="connsiteX7" fmla="*/ 5000 w 10000"/>
                  <a:gd name="connsiteY7" fmla="*/ 10006 h 100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0000" h="10006">
                    <a:moveTo>
                      <a:pt x="9954" y="7230"/>
                    </a:moveTo>
                    <a:cubicBezTo>
                      <a:pt x="9969" y="5173"/>
                      <a:pt x="9985" y="3116"/>
                      <a:pt x="10000" y="1059"/>
                    </a:cubicBezTo>
                    <a:cubicBezTo>
                      <a:pt x="9885" y="-145"/>
                      <a:pt x="9706" y="6"/>
                      <a:pt x="9265" y="6"/>
                    </a:cubicBezTo>
                    <a:lnTo>
                      <a:pt x="809" y="6"/>
                    </a:lnTo>
                    <a:cubicBezTo>
                      <a:pt x="368" y="6"/>
                      <a:pt x="0" y="427"/>
                      <a:pt x="0" y="1059"/>
                    </a:cubicBezTo>
                    <a:lnTo>
                      <a:pt x="0" y="8953"/>
                    </a:lnTo>
                    <a:cubicBezTo>
                      <a:pt x="0" y="9480"/>
                      <a:pt x="368" y="10006"/>
                      <a:pt x="809" y="10006"/>
                    </a:cubicBezTo>
                    <a:lnTo>
                      <a:pt x="5000" y="10006"/>
                    </a:lnTo>
                  </a:path>
                </a:pathLst>
              </a:custGeom>
              <a:noFill/>
              <a:ln w="12700" cap="flat">
                <a:solidFill>
                  <a:schemeClr val="tx1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132" name="Line 230">
                <a:extLst>
                  <a:ext uri="{FF2B5EF4-FFF2-40B4-BE49-F238E27FC236}">
                    <a16:creationId xmlns:a16="http://schemas.microsoft.com/office/drawing/2014/main" id="{831FD88C-4940-9B99-2D7D-F44B5F31311C}"/>
                  </a:ext>
                </a:extLst>
              </p:cNvPr>
              <p:cNvSpPr>
                <a:spLocks noChangeAspect="1" noChangeShapeType="1"/>
              </p:cNvSpPr>
              <p:nvPr/>
            </p:nvSpPr>
            <p:spPr bwMode="auto">
              <a:xfrm>
                <a:off x="1118803" y="9937590"/>
                <a:ext cx="195264" cy="0"/>
              </a:xfrm>
              <a:prstGeom prst="line">
                <a:avLst/>
              </a:prstGeom>
              <a:noFill/>
              <a:ln w="12700" cap="rnd">
                <a:solidFill>
                  <a:schemeClr val="tx1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133" name="Line 230">
                <a:extLst>
                  <a:ext uri="{FF2B5EF4-FFF2-40B4-BE49-F238E27FC236}">
                    <a16:creationId xmlns:a16="http://schemas.microsoft.com/office/drawing/2014/main" id="{360CFE6E-36BC-FB81-2E02-64B10298BD6C}"/>
                  </a:ext>
                </a:extLst>
              </p:cNvPr>
              <p:cNvSpPr>
                <a:spLocks noChangeAspect="1" noChangeShapeType="1"/>
              </p:cNvSpPr>
              <p:nvPr/>
            </p:nvSpPr>
            <p:spPr bwMode="auto">
              <a:xfrm>
                <a:off x="1118803" y="10026185"/>
                <a:ext cx="101600" cy="0"/>
              </a:xfrm>
              <a:prstGeom prst="line">
                <a:avLst/>
              </a:prstGeom>
              <a:noFill/>
              <a:ln w="12700" cap="rnd">
                <a:solidFill>
                  <a:schemeClr val="tx1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</p:grpSp>
      </p:grpSp>
      <p:grpSp>
        <p:nvGrpSpPr>
          <p:cNvPr id="140" name="Group 139">
            <a:extLst>
              <a:ext uri="{FF2B5EF4-FFF2-40B4-BE49-F238E27FC236}">
                <a16:creationId xmlns:a16="http://schemas.microsoft.com/office/drawing/2014/main" id="{E0258235-64E1-4554-3ADC-2415DB497801}"/>
              </a:ext>
            </a:extLst>
          </p:cNvPr>
          <p:cNvGrpSpPr>
            <a:grpSpLocks noChangeAspect="1"/>
          </p:cNvGrpSpPr>
          <p:nvPr/>
        </p:nvGrpSpPr>
        <p:grpSpPr>
          <a:xfrm>
            <a:off x="8357488" y="2852376"/>
            <a:ext cx="369358" cy="360000"/>
            <a:chOff x="2205799" y="9777784"/>
            <a:chExt cx="809767" cy="789251"/>
          </a:xfrm>
        </p:grpSpPr>
        <p:grpSp>
          <p:nvGrpSpPr>
            <p:cNvPr id="141" name="Gruppieren 218">
              <a:extLst>
                <a:ext uri="{FF2B5EF4-FFF2-40B4-BE49-F238E27FC236}">
                  <a16:creationId xmlns:a16="http://schemas.microsoft.com/office/drawing/2014/main" id="{B0891F1F-7382-6A4E-1C97-B2C416160FEA}"/>
                </a:ext>
              </a:extLst>
            </p:cNvPr>
            <p:cNvGrpSpPr/>
            <p:nvPr/>
          </p:nvGrpSpPr>
          <p:grpSpPr>
            <a:xfrm>
              <a:off x="2647358" y="10178677"/>
              <a:ext cx="368208" cy="388358"/>
              <a:chOff x="4995944" y="10022123"/>
              <a:chExt cx="920285" cy="970647"/>
            </a:xfrm>
            <a:noFill/>
          </p:grpSpPr>
          <p:sp>
            <p:nvSpPr>
              <p:cNvPr id="148" name="Oval 764">
                <a:extLst>
                  <a:ext uri="{FF2B5EF4-FFF2-40B4-BE49-F238E27FC236}">
                    <a16:creationId xmlns:a16="http://schemas.microsoft.com/office/drawing/2014/main" id="{203DD119-860F-84A5-49F8-E61C9929D02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flipH="1">
                <a:off x="4995944" y="10022123"/>
                <a:ext cx="714251" cy="709672"/>
              </a:xfrm>
              <a:prstGeom prst="ellipse">
                <a:avLst/>
              </a:prstGeom>
              <a:grpFill/>
              <a:ln w="12700" cap="flat">
                <a:solidFill>
                  <a:schemeClr val="accent6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</a:endParaRPr>
              </a:p>
            </p:txBody>
          </p:sp>
          <p:sp>
            <p:nvSpPr>
              <p:cNvPr id="149" name="Freeform 766">
                <a:extLst>
                  <a:ext uri="{FF2B5EF4-FFF2-40B4-BE49-F238E27FC236}">
                    <a16:creationId xmlns:a16="http://schemas.microsoft.com/office/drawing/2014/main" id="{594FA897-1E37-BC78-66F2-3C632C809504}"/>
                  </a:ext>
                </a:extLst>
              </p:cNvPr>
              <p:cNvSpPr>
                <a:spLocks/>
              </p:cNvSpPr>
              <p:nvPr/>
            </p:nvSpPr>
            <p:spPr bwMode="auto">
              <a:xfrm flipH="1">
                <a:off x="5549946" y="10612752"/>
                <a:ext cx="366283" cy="380018"/>
              </a:xfrm>
              <a:custGeom>
                <a:avLst/>
                <a:gdLst>
                  <a:gd name="T0" fmla="*/ 80 w 80"/>
                  <a:gd name="T1" fmla="*/ 18 h 83"/>
                  <a:gd name="T2" fmla="*/ 23 w 80"/>
                  <a:gd name="T3" fmla="*/ 78 h 83"/>
                  <a:gd name="T4" fmla="*/ 7 w 80"/>
                  <a:gd name="T5" fmla="*/ 79 h 83"/>
                  <a:gd name="T6" fmla="*/ 5 w 80"/>
                  <a:gd name="T7" fmla="*/ 76 h 83"/>
                  <a:gd name="T8" fmla="*/ 5 w 80"/>
                  <a:gd name="T9" fmla="*/ 60 h 83"/>
                  <a:gd name="T10" fmla="*/ 62 w 80"/>
                  <a:gd name="T11" fmla="*/ 0 h 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80" h="83">
                    <a:moveTo>
                      <a:pt x="80" y="18"/>
                    </a:moveTo>
                    <a:cubicBezTo>
                      <a:pt x="23" y="78"/>
                      <a:pt x="23" y="78"/>
                      <a:pt x="23" y="78"/>
                    </a:cubicBezTo>
                    <a:cubicBezTo>
                      <a:pt x="19" y="83"/>
                      <a:pt x="12" y="83"/>
                      <a:pt x="7" y="79"/>
                    </a:cubicBezTo>
                    <a:cubicBezTo>
                      <a:pt x="5" y="76"/>
                      <a:pt x="5" y="76"/>
                      <a:pt x="5" y="76"/>
                    </a:cubicBezTo>
                    <a:cubicBezTo>
                      <a:pt x="0" y="72"/>
                      <a:pt x="0" y="65"/>
                      <a:pt x="5" y="60"/>
                    </a:cubicBezTo>
                    <a:cubicBezTo>
                      <a:pt x="62" y="0"/>
                      <a:pt x="62" y="0"/>
                      <a:pt x="62" y="0"/>
                    </a:cubicBezTo>
                  </a:path>
                </a:pathLst>
              </a:custGeom>
              <a:grpFill/>
              <a:ln w="12700" cap="rnd">
                <a:solidFill>
                  <a:schemeClr val="accent6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</a:endParaRPr>
              </a:p>
            </p:txBody>
          </p:sp>
        </p:grpSp>
        <p:grpSp>
          <p:nvGrpSpPr>
            <p:cNvPr id="142" name="Gruppieren 77">
              <a:extLst>
                <a:ext uri="{FF2B5EF4-FFF2-40B4-BE49-F238E27FC236}">
                  <a16:creationId xmlns:a16="http://schemas.microsoft.com/office/drawing/2014/main" id="{5D3CEBDD-A9B1-FD54-7146-708D77DF2CDA}"/>
                </a:ext>
              </a:extLst>
            </p:cNvPr>
            <p:cNvGrpSpPr/>
            <p:nvPr/>
          </p:nvGrpSpPr>
          <p:grpSpPr>
            <a:xfrm>
              <a:off x="2205799" y="9777784"/>
              <a:ext cx="691416" cy="526692"/>
              <a:chOff x="2372418" y="6278156"/>
              <a:chExt cx="436429" cy="332455"/>
            </a:xfrm>
            <a:noFill/>
          </p:grpSpPr>
          <p:grpSp>
            <p:nvGrpSpPr>
              <p:cNvPr id="143" name="Gruppieren 78">
                <a:extLst>
                  <a:ext uri="{FF2B5EF4-FFF2-40B4-BE49-F238E27FC236}">
                    <a16:creationId xmlns:a16="http://schemas.microsoft.com/office/drawing/2014/main" id="{961985AD-606A-EF92-6D37-89F5A7756E79}"/>
                  </a:ext>
                </a:extLst>
              </p:cNvPr>
              <p:cNvGrpSpPr/>
              <p:nvPr/>
            </p:nvGrpSpPr>
            <p:grpSpPr>
              <a:xfrm>
                <a:off x="2372418" y="6355469"/>
                <a:ext cx="236012" cy="255142"/>
                <a:chOff x="3800021" y="2196690"/>
                <a:chExt cx="1970092" cy="2129785"/>
              </a:xfrm>
              <a:grpFill/>
            </p:grpSpPr>
            <p:sp>
              <p:nvSpPr>
                <p:cNvPr id="146" name="Ellipse 81">
                  <a:extLst>
                    <a:ext uri="{FF2B5EF4-FFF2-40B4-BE49-F238E27FC236}">
                      <a16:creationId xmlns:a16="http://schemas.microsoft.com/office/drawing/2014/main" id="{51F4789D-795A-CAB1-90D3-FA2110EA5003}"/>
                    </a:ext>
                  </a:extLst>
                </p:cNvPr>
                <p:cNvSpPr/>
                <p:nvPr/>
              </p:nvSpPr>
              <p:spPr>
                <a:xfrm>
                  <a:off x="4228033" y="2196690"/>
                  <a:ext cx="1114060" cy="1114059"/>
                </a:xfrm>
                <a:prstGeom prst="ellipse">
                  <a:avLst/>
                </a:prstGeom>
                <a:grpFill/>
                <a:ln w="12700" cap="rnd">
                  <a:solidFill>
                    <a:schemeClr val="tx1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514213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013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404955"/>
                    </a:solidFill>
                    <a:effectLst/>
                    <a:uLnTx/>
                    <a:uFillTx/>
                    <a:latin typeface="Arial"/>
                  </a:endParaRPr>
                </a:p>
              </p:txBody>
            </p:sp>
            <p:sp>
              <p:nvSpPr>
                <p:cNvPr id="147" name="Freihandform: Form 82">
                  <a:extLst>
                    <a:ext uri="{FF2B5EF4-FFF2-40B4-BE49-F238E27FC236}">
                      <a16:creationId xmlns:a16="http://schemas.microsoft.com/office/drawing/2014/main" id="{B3C8E05D-C4E0-BA7A-3F44-6F1E535F3A2E}"/>
                    </a:ext>
                  </a:extLst>
                </p:cNvPr>
                <p:cNvSpPr/>
                <p:nvPr/>
              </p:nvSpPr>
              <p:spPr>
                <a:xfrm>
                  <a:off x="3800021" y="3533651"/>
                  <a:ext cx="1970092" cy="792824"/>
                </a:xfrm>
                <a:custGeom>
                  <a:avLst/>
                  <a:gdLst>
                    <a:gd name="connsiteX0" fmla="*/ 0 w 428625"/>
                    <a:gd name="connsiteY0" fmla="*/ 130969 h 135731"/>
                    <a:gd name="connsiteX1" fmla="*/ 216694 w 428625"/>
                    <a:gd name="connsiteY1" fmla="*/ 0 h 135731"/>
                    <a:gd name="connsiteX2" fmla="*/ 428625 w 428625"/>
                    <a:gd name="connsiteY2" fmla="*/ 95250 h 135731"/>
                    <a:gd name="connsiteX3" fmla="*/ 428625 w 428625"/>
                    <a:gd name="connsiteY3" fmla="*/ 135731 h 135731"/>
                    <a:gd name="connsiteX0" fmla="*/ 0 w 428625"/>
                    <a:gd name="connsiteY0" fmla="*/ 130969 h 135731"/>
                    <a:gd name="connsiteX1" fmla="*/ 37277 w 428625"/>
                    <a:gd name="connsiteY1" fmla="*/ 106660 h 135731"/>
                    <a:gd name="connsiteX2" fmla="*/ 216694 w 428625"/>
                    <a:gd name="connsiteY2" fmla="*/ 0 h 135731"/>
                    <a:gd name="connsiteX3" fmla="*/ 428625 w 428625"/>
                    <a:gd name="connsiteY3" fmla="*/ 95250 h 135731"/>
                    <a:gd name="connsiteX4" fmla="*/ 428625 w 428625"/>
                    <a:gd name="connsiteY4" fmla="*/ 135731 h 135731"/>
                    <a:gd name="connsiteX0" fmla="*/ 0 w 428625"/>
                    <a:gd name="connsiteY0" fmla="*/ 130969 h 135731"/>
                    <a:gd name="connsiteX1" fmla="*/ 342 w 428625"/>
                    <a:gd name="connsiteY1" fmla="*/ 94348 h 135731"/>
                    <a:gd name="connsiteX2" fmla="*/ 216694 w 428625"/>
                    <a:gd name="connsiteY2" fmla="*/ 0 h 135731"/>
                    <a:gd name="connsiteX3" fmla="*/ 428625 w 428625"/>
                    <a:gd name="connsiteY3" fmla="*/ 95250 h 135731"/>
                    <a:gd name="connsiteX4" fmla="*/ 428625 w 428625"/>
                    <a:gd name="connsiteY4" fmla="*/ 135731 h 135731"/>
                    <a:gd name="connsiteX0" fmla="*/ 0 w 428625"/>
                    <a:gd name="connsiteY0" fmla="*/ 130969 h 135731"/>
                    <a:gd name="connsiteX1" fmla="*/ 342 w 428625"/>
                    <a:gd name="connsiteY1" fmla="*/ 94348 h 135731"/>
                    <a:gd name="connsiteX2" fmla="*/ 216694 w 428625"/>
                    <a:gd name="connsiteY2" fmla="*/ 0 h 135731"/>
                    <a:gd name="connsiteX3" fmla="*/ 428625 w 428625"/>
                    <a:gd name="connsiteY3" fmla="*/ 95250 h 135731"/>
                    <a:gd name="connsiteX4" fmla="*/ 428625 w 428625"/>
                    <a:gd name="connsiteY4" fmla="*/ 135731 h 135731"/>
                    <a:gd name="connsiteX0" fmla="*/ 0 w 428625"/>
                    <a:gd name="connsiteY0" fmla="*/ 130969 h 135731"/>
                    <a:gd name="connsiteX1" fmla="*/ 342 w 428625"/>
                    <a:gd name="connsiteY1" fmla="*/ 94348 h 135731"/>
                    <a:gd name="connsiteX2" fmla="*/ 216694 w 428625"/>
                    <a:gd name="connsiteY2" fmla="*/ 0 h 135731"/>
                    <a:gd name="connsiteX3" fmla="*/ 428625 w 428625"/>
                    <a:gd name="connsiteY3" fmla="*/ 95250 h 135731"/>
                    <a:gd name="connsiteX4" fmla="*/ 428625 w 428625"/>
                    <a:gd name="connsiteY4" fmla="*/ 135731 h 135731"/>
                    <a:gd name="connsiteX0" fmla="*/ 0 w 428625"/>
                    <a:gd name="connsiteY0" fmla="*/ 40995 h 45757"/>
                    <a:gd name="connsiteX1" fmla="*/ 342 w 428625"/>
                    <a:gd name="connsiteY1" fmla="*/ 4374 h 45757"/>
                    <a:gd name="connsiteX2" fmla="*/ 428625 w 428625"/>
                    <a:gd name="connsiteY2" fmla="*/ 5276 h 45757"/>
                    <a:gd name="connsiteX3" fmla="*/ 428625 w 428625"/>
                    <a:gd name="connsiteY3" fmla="*/ 45757 h 45757"/>
                    <a:gd name="connsiteX0" fmla="*/ 0 w 428625"/>
                    <a:gd name="connsiteY0" fmla="*/ 93270 h 98032"/>
                    <a:gd name="connsiteX1" fmla="*/ 342 w 428625"/>
                    <a:gd name="connsiteY1" fmla="*/ 56649 h 98032"/>
                    <a:gd name="connsiteX2" fmla="*/ 428625 w 428625"/>
                    <a:gd name="connsiteY2" fmla="*/ 57551 h 98032"/>
                    <a:gd name="connsiteX3" fmla="*/ 428625 w 428625"/>
                    <a:gd name="connsiteY3" fmla="*/ 98032 h 98032"/>
                    <a:gd name="connsiteX0" fmla="*/ 0 w 428625"/>
                    <a:gd name="connsiteY0" fmla="*/ 125682 h 130444"/>
                    <a:gd name="connsiteX1" fmla="*/ 342 w 428625"/>
                    <a:gd name="connsiteY1" fmla="*/ 89061 h 130444"/>
                    <a:gd name="connsiteX2" fmla="*/ 428625 w 428625"/>
                    <a:gd name="connsiteY2" fmla="*/ 89963 h 130444"/>
                    <a:gd name="connsiteX3" fmla="*/ 428625 w 428625"/>
                    <a:gd name="connsiteY3" fmla="*/ 130444 h 130444"/>
                    <a:gd name="connsiteX0" fmla="*/ 0 w 428625"/>
                    <a:gd name="connsiteY0" fmla="*/ 123335 h 128097"/>
                    <a:gd name="connsiteX1" fmla="*/ 342 w 428625"/>
                    <a:gd name="connsiteY1" fmla="*/ 86714 h 128097"/>
                    <a:gd name="connsiteX2" fmla="*/ 428625 w 428625"/>
                    <a:gd name="connsiteY2" fmla="*/ 87616 h 128097"/>
                    <a:gd name="connsiteX3" fmla="*/ 428625 w 428625"/>
                    <a:gd name="connsiteY3" fmla="*/ 128097 h 12809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28625" h="128097">
                      <a:moveTo>
                        <a:pt x="0" y="123335"/>
                      </a:moveTo>
                      <a:lnTo>
                        <a:pt x="342" y="86714"/>
                      </a:lnTo>
                      <a:cubicBezTo>
                        <a:pt x="79987" y="-25940"/>
                        <a:pt x="343907" y="-32138"/>
                        <a:pt x="428625" y="87616"/>
                      </a:cubicBezTo>
                      <a:lnTo>
                        <a:pt x="428625" y="128097"/>
                      </a:lnTo>
                    </a:path>
                  </a:pathLst>
                </a:custGeom>
                <a:grpFill/>
                <a:ln w="12700" cap="rnd">
                  <a:solidFill>
                    <a:schemeClr val="tx1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514213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013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404955"/>
                    </a:solidFill>
                    <a:effectLst/>
                    <a:uLnTx/>
                    <a:uFillTx/>
                    <a:latin typeface="Arial"/>
                  </a:endParaRPr>
                </a:p>
              </p:txBody>
            </p:sp>
          </p:grpSp>
          <p:sp>
            <p:nvSpPr>
              <p:cNvPr id="144" name="Ellipse 79">
                <a:extLst>
                  <a:ext uri="{FF2B5EF4-FFF2-40B4-BE49-F238E27FC236}">
                    <a16:creationId xmlns:a16="http://schemas.microsoft.com/office/drawing/2014/main" id="{2584E8EE-CFED-CFAE-D22D-858A5B5537EB}"/>
                  </a:ext>
                </a:extLst>
              </p:cNvPr>
              <p:cNvSpPr/>
              <p:nvPr/>
            </p:nvSpPr>
            <p:spPr>
              <a:xfrm>
                <a:off x="2624109" y="6278156"/>
                <a:ext cx="133462" cy="133461"/>
              </a:xfrm>
              <a:prstGeom prst="ellipse">
                <a:avLst/>
              </a:prstGeom>
              <a:grpFill/>
              <a:ln w="12700" cap="rnd">
                <a:solidFill>
                  <a:schemeClr val="tx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514213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13" b="0" i="0" u="none" strike="noStrike" kern="0" cap="none" spc="0" normalizeH="0" baseline="0" noProof="0" dirty="0">
                  <a:ln>
                    <a:noFill/>
                  </a:ln>
                  <a:solidFill>
                    <a:srgbClr val="404955"/>
                  </a:solidFill>
                  <a:effectLst/>
                  <a:uLnTx/>
                  <a:uFillTx/>
                  <a:latin typeface="Arial"/>
                </a:endParaRPr>
              </a:p>
            </p:txBody>
          </p:sp>
          <p:sp>
            <p:nvSpPr>
              <p:cNvPr id="145" name="Freihandform: Form 80">
                <a:extLst>
                  <a:ext uri="{FF2B5EF4-FFF2-40B4-BE49-F238E27FC236}">
                    <a16:creationId xmlns:a16="http://schemas.microsoft.com/office/drawing/2014/main" id="{2000E5AC-8165-2050-6852-E2834FDEEB9A}"/>
                  </a:ext>
                </a:extLst>
              </p:cNvPr>
              <p:cNvSpPr/>
              <p:nvPr/>
            </p:nvSpPr>
            <p:spPr>
              <a:xfrm>
                <a:off x="2601846" y="6438320"/>
                <a:ext cx="207001" cy="64964"/>
              </a:xfrm>
              <a:custGeom>
                <a:avLst/>
                <a:gdLst>
                  <a:gd name="connsiteX0" fmla="*/ 88042 w 207001"/>
                  <a:gd name="connsiteY0" fmla="*/ 9 h 94978"/>
                  <a:gd name="connsiteX1" fmla="*/ 207001 w 207001"/>
                  <a:gd name="connsiteY1" fmla="*/ 64963 h 94978"/>
                  <a:gd name="connsiteX2" fmla="*/ 207001 w 207001"/>
                  <a:gd name="connsiteY2" fmla="*/ 94978 h 94978"/>
                  <a:gd name="connsiteX3" fmla="*/ 91801 w 207001"/>
                  <a:gd name="connsiteY3" fmla="*/ 93255 h 94978"/>
                  <a:gd name="connsiteX4" fmla="*/ 0 w 207001"/>
                  <a:gd name="connsiteY4" fmla="*/ 30966 h 94978"/>
                  <a:gd name="connsiteX5" fmla="*/ 19966 w 207001"/>
                  <a:gd name="connsiteY5" fmla="*/ 16674 h 94978"/>
                  <a:gd name="connsiteX6" fmla="*/ 88042 w 207001"/>
                  <a:gd name="connsiteY6" fmla="*/ 9 h 94978"/>
                  <a:gd name="connsiteX0" fmla="*/ 91801 w 207001"/>
                  <a:gd name="connsiteY0" fmla="*/ 93255 h 184695"/>
                  <a:gd name="connsiteX1" fmla="*/ 0 w 207001"/>
                  <a:gd name="connsiteY1" fmla="*/ 30966 h 184695"/>
                  <a:gd name="connsiteX2" fmla="*/ 19966 w 207001"/>
                  <a:gd name="connsiteY2" fmla="*/ 16674 h 184695"/>
                  <a:gd name="connsiteX3" fmla="*/ 88042 w 207001"/>
                  <a:gd name="connsiteY3" fmla="*/ 9 h 184695"/>
                  <a:gd name="connsiteX4" fmla="*/ 207001 w 207001"/>
                  <a:gd name="connsiteY4" fmla="*/ 64963 h 184695"/>
                  <a:gd name="connsiteX5" fmla="*/ 207001 w 207001"/>
                  <a:gd name="connsiteY5" fmla="*/ 94978 h 184695"/>
                  <a:gd name="connsiteX6" fmla="*/ 183241 w 207001"/>
                  <a:gd name="connsiteY6" fmla="*/ 184695 h 184695"/>
                  <a:gd name="connsiteX0" fmla="*/ 91801 w 207001"/>
                  <a:gd name="connsiteY0" fmla="*/ 93255 h 94978"/>
                  <a:gd name="connsiteX1" fmla="*/ 0 w 207001"/>
                  <a:gd name="connsiteY1" fmla="*/ 30966 h 94978"/>
                  <a:gd name="connsiteX2" fmla="*/ 19966 w 207001"/>
                  <a:gd name="connsiteY2" fmla="*/ 16674 h 94978"/>
                  <a:gd name="connsiteX3" fmla="*/ 88042 w 207001"/>
                  <a:gd name="connsiteY3" fmla="*/ 9 h 94978"/>
                  <a:gd name="connsiteX4" fmla="*/ 207001 w 207001"/>
                  <a:gd name="connsiteY4" fmla="*/ 64963 h 94978"/>
                  <a:gd name="connsiteX5" fmla="*/ 207001 w 207001"/>
                  <a:gd name="connsiteY5" fmla="*/ 94978 h 94978"/>
                  <a:gd name="connsiteX0" fmla="*/ 0 w 207001"/>
                  <a:gd name="connsiteY0" fmla="*/ 30966 h 94978"/>
                  <a:gd name="connsiteX1" fmla="*/ 19966 w 207001"/>
                  <a:gd name="connsiteY1" fmla="*/ 16674 h 94978"/>
                  <a:gd name="connsiteX2" fmla="*/ 88042 w 207001"/>
                  <a:gd name="connsiteY2" fmla="*/ 9 h 94978"/>
                  <a:gd name="connsiteX3" fmla="*/ 207001 w 207001"/>
                  <a:gd name="connsiteY3" fmla="*/ 64963 h 94978"/>
                  <a:gd name="connsiteX4" fmla="*/ 207001 w 207001"/>
                  <a:gd name="connsiteY4" fmla="*/ 94978 h 94978"/>
                  <a:gd name="connsiteX0" fmla="*/ 0 w 207001"/>
                  <a:gd name="connsiteY0" fmla="*/ 30966 h 64964"/>
                  <a:gd name="connsiteX1" fmla="*/ 19966 w 207001"/>
                  <a:gd name="connsiteY1" fmla="*/ 16674 h 64964"/>
                  <a:gd name="connsiteX2" fmla="*/ 88042 w 207001"/>
                  <a:gd name="connsiteY2" fmla="*/ 9 h 64964"/>
                  <a:gd name="connsiteX3" fmla="*/ 207001 w 207001"/>
                  <a:gd name="connsiteY3" fmla="*/ 64963 h 649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07001" h="64964">
                    <a:moveTo>
                      <a:pt x="0" y="30966"/>
                    </a:moveTo>
                    <a:lnTo>
                      <a:pt x="19966" y="16674"/>
                    </a:lnTo>
                    <a:cubicBezTo>
                      <a:pt x="40486" y="5885"/>
                      <a:pt x="64220" y="254"/>
                      <a:pt x="88042" y="9"/>
                    </a:cubicBezTo>
                    <a:cubicBezTo>
                      <a:pt x="135685" y="-482"/>
                      <a:pt x="183677" y="20567"/>
                      <a:pt x="207001" y="64963"/>
                    </a:cubicBezTo>
                  </a:path>
                </a:pathLst>
              </a:custGeom>
              <a:grpFill/>
              <a:ln w="12700" cap="rnd">
                <a:solidFill>
                  <a:schemeClr val="tx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514213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13" b="0" i="0" u="none" strike="noStrike" kern="0" cap="none" spc="0" normalizeH="0" baseline="0" noProof="0" dirty="0">
                  <a:ln>
                    <a:noFill/>
                  </a:ln>
                  <a:solidFill>
                    <a:srgbClr val="404955"/>
                  </a:solidFill>
                  <a:effectLst/>
                  <a:uLnTx/>
                  <a:uFillTx/>
                  <a:latin typeface="Arial"/>
                </a:endParaRPr>
              </a:p>
            </p:txBody>
          </p:sp>
        </p:grpSp>
      </p:grpSp>
      <p:grpSp>
        <p:nvGrpSpPr>
          <p:cNvPr id="162" name="Gruppieren 288">
            <a:extLst>
              <a:ext uri="{FF2B5EF4-FFF2-40B4-BE49-F238E27FC236}">
                <a16:creationId xmlns:a16="http://schemas.microsoft.com/office/drawing/2014/main" id="{EEED95FC-0E16-22A5-3ECB-B6C5FD616D8F}"/>
              </a:ext>
            </a:extLst>
          </p:cNvPr>
          <p:cNvGrpSpPr>
            <a:grpSpLocks noChangeAspect="1"/>
          </p:cNvGrpSpPr>
          <p:nvPr/>
        </p:nvGrpSpPr>
        <p:grpSpPr>
          <a:xfrm>
            <a:off x="8354039" y="3516604"/>
            <a:ext cx="376256" cy="360000"/>
            <a:chOff x="708021" y="1583655"/>
            <a:chExt cx="412034" cy="394232"/>
          </a:xfrm>
        </p:grpSpPr>
        <p:sp>
          <p:nvSpPr>
            <p:cNvPr id="163" name="Freihandform: Form 289">
              <a:extLst>
                <a:ext uri="{FF2B5EF4-FFF2-40B4-BE49-F238E27FC236}">
                  <a16:creationId xmlns:a16="http://schemas.microsoft.com/office/drawing/2014/main" id="{1B51B1C9-47EF-6B76-F456-8AFA3429D4CB}"/>
                </a:ext>
              </a:extLst>
            </p:cNvPr>
            <p:cNvSpPr/>
            <p:nvPr/>
          </p:nvSpPr>
          <p:spPr>
            <a:xfrm>
              <a:off x="848951" y="1804013"/>
              <a:ext cx="128643" cy="173874"/>
            </a:xfrm>
            <a:custGeom>
              <a:avLst/>
              <a:gdLst>
                <a:gd name="connsiteX0" fmla="*/ 86246 w 117473"/>
                <a:gd name="connsiteY0" fmla="*/ 153910 h 153910"/>
                <a:gd name="connsiteX1" fmla="*/ 77996 w 117473"/>
                <a:gd name="connsiteY1" fmla="*/ 153910 h 153910"/>
                <a:gd name="connsiteX2" fmla="*/ 77996 w 117473"/>
                <a:gd name="connsiteY2" fmla="*/ 111060 h 153910"/>
                <a:gd name="connsiteX3" fmla="*/ 80232 w 117473"/>
                <a:gd name="connsiteY3" fmla="*/ 107393 h 153910"/>
                <a:gd name="connsiteX4" fmla="*/ 92405 w 117473"/>
                <a:gd name="connsiteY4" fmla="*/ 67300 h 153910"/>
                <a:gd name="connsiteX5" fmla="*/ 92929 w 117473"/>
                <a:gd name="connsiteY5" fmla="*/ 65437 h 153910"/>
                <a:gd name="connsiteX6" fmla="*/ 108851 w 117473"/>
                <a:gd name="connsiteY6" fmla="*/ 36996 h 153910"/>
                <a:gd name="connsiteX7" fmla="*/ 109093 w 117473"/>
                <a:gd name="connsiteY7" fmla="*/ 34302 h 153910"/>
                <a:gd name="connsiteX8" fmla="*/ 107570 w 117473"/>
                <a:gd name="connsiteY8" fmla="*/ 32462 h 153910"/>
                <a:gd name="connsiteX9" fmla="*/ 102906 w 117473"/>
                <a:gd name="connsiteY9" fmla="*/ 33587 h 153910"/>
                <a:gd name="connsiteX10" fmla="*/ 102868 w 117473"/>
                <a:gd name="connsiteY10" fmla="*/ 33653 h 153910"/>
                <a:gd name="connsiteX11" fmla="*/ 87608 w 117473"/>
                <a:gd name="connsiteY11" fmla="*/ 60754 h 153910"/>
                <a:gd name="connsiteX12" fmla="*/ 81989 w 117473"/>
                <a:gd name="connsiteY12" fmla="*/ 62321 h 153910"/>
                <a:gd name="connsiteX13" fmla="*/ 80015 w 117473"/>
                <a:gd name="connsiteY13" fmla="*/ 57720 h 153910"/>
                <a:gd name="connsiteX14" fmla="*/ 90254 w 117473"/>
                <a:gd name="connsiteY14" fmla="*/ 17148 h 153910"/>
                <a:gd name="connsiteX15" fmla="*/ 89903 w 117473"/>
                <a:gd name="connsiteY15" fmla="*/ 14519 h 153910"/>
                <a:gd name="connsiteX16" fmla="*/ 87829 w 117473"/>
                <a:gd name="connsiteY16" fmla="*/ 13116 h 153910"/>
                <a:gd name="connsiteX17" fmla="*/ 84928 w 117473"/>
                <a:gd name="connsiteY17" fmla="*/ 13405 h 153910"/>
                <a:gd name="connsiteX18" fmla="*/ 83526 w 117473"/>
                <a:gd name="connsiteY18" fmla="*/ 15482 h 153910"/>
                <a:gd name="connsiteX19" fmla="*/ 74748 w 117473"/>
                <a:gd name="connsiteY19" fmla="*/ 50631 h 153910"/>
                <a:gd name="connsiteX20" fmla="*/ 69744 w 117473"/>
                <a:gd name="connsiteY20" fmla="*/ 53630 h 153910"/>
                <a:gd name="connsiteX21" fmla="*/ 66622 w 117473"/>
                <a:gd name="connsiteY21" fmla="*/ 49631 h 153910"/>
                <a:gd name="connsiteX22" fmla="*/ 66622 w 117473"/>
                <a:gd name="connsiteY22" fmla="*/ 11834 h 153910"/>
                <a:gd name="connsiteX23" fmla="*/ 63401 w 117473"/>
                <a:gd name="connsiteY23" fmla="*/ 8258 h 153910"/>
                <a:gd name="connsiteX24" fmla="*/ 59713 w 117473"/>
                <a:gd name="connsiteY24" fmla="*/ 11477 h 153910"/>
                <a:gd name="connsiteX25" fmla="*/ 59705 w 117473"/>
                <a:gd name="connsiteY25" fmla="*/ 11709 h 153910"/>
                <a:gd name="connsiteX26" fmla="*/ 59705 w 117473"/>
                <a:gd name="connsiteY26" fmla="*/ 52284 h 153910"/>
                <a:gd name="connsiteX27" fmla="*/ 55572 w 117473"/>
                <a:gd name="connsiteY27" fmla="*/ 56400 h 153910"/>
                <a:gd name="connsiteX28" fmla="*/ 51564 w 117473"/>
                <a:gd name="connsiteY28" fmla="*/ 53216 h 153910"/>
                <a:gd name="connsiteX29" fmla="*/ 42847 w 117473"/>
                <a:gd name="connsiteY29" fmla="*/ 15675 h 153910"/>
                <a:gd name="connsiteX30" fmla="*/ 38697 w 117473"/>
                <a:gd name="connsiteY30" fmla="*/ 13059 h 153910"/>
                <a:gd name="connsiteX31" fmla="*/ 36081 w 117473"/>
                <a:gd name="connsiteY31" fmla="*/ 17210 h 153910"/>
                <a:gd name="connsiteX32" fmla="*/ 36135 w 117473"/>
                <a:gd name="connsiteY32" fmla="*/ 17418 h 153910"/>
                <a:gd name="connsiteX33" fmla="*/ 46706 w 117473"/>
                <a:gd name="connsiteY33" fmla="*/ 62336 h 153910"/>
                <a:gd name="connsiteX34" fmla="*/ 46803 w 117473"/>
                <a:gd name="connsiteY34" fmla="*/ 63574 h 153910"/>
                <a:gd name="connsiteX35" fmla="*/ 44039 w 117473"/>
                <a:gd name="connsiteY35" fmla="*/ 79448 h 153910"/>
                <a:gd name="connsiteX36" fmla="*/ 39036 w 117473"/>
                <a:gd name="connsiteY36" fmla="*/ 82448 h 153910"/>
                <a:gd name="connsiteX37" fmla="*/ 36953 w 117473"/>
                <a:gd name="connsiteY37" fmla="*/ 81186 h 153910"/>
                <a:gd name="connsiteX38" fmla="*/ 36204 w 117473"/>
                <a:gd name="connsiteY38" fmla="*/ 80326 h 153910"/>
                <a:gd name="connsiteX39" fmla="*/ 12050 w 117473"/>
                <a:gd name="connsiteY39" fmla="*/ 60817 h 153910"/>
                <a:gd name="connsiteX40" fmla="*/ 9823 w 117473"/>
                <a:gd name="connsiteY40" fmla="*/ 61024 h 153910"/>
                <a:gd name="connsiteX41" fmla="*/ 8353 w 117473"/>
                <a:gd name="connsiteY41" fmla="*/ 62946 h 153910"/>
                <a:gd name="connsiteX42" fmla="*/ 10399 w 117473"/>
                <a:gd name="connsiteY42" fmla="*/ 66507 h 153910"/>
                <a:gd name="connsiteX43" fmla="*/ 10512 w 117473"/>
                <a:gd name="connsiteY43" fmla="*/ 66535 h 153910"/>
                <a:gd name="connsiteX44" fmla="*/ 26742 w 117473"/>
                <a:gd name="connsiteY44" fmla="*/ 83466 h 153910"/>
                <a:gd name="connsiteX45" fmla="*/ 27193 w 117473"/>
                <a:gd name="connsiteY45" fmla="*/ 84163 h 153910"/>
                <a:gd name="connsiteX46" fmla="*/ 50791 w 117473"/>
                <a:gd name="connsiteY46" fmla="*/ 109747 h 153910"/>
                <a:gd name="connsiteX47" fmla="*/ 52882 w 117473"/>
                <a:gd name="connsiteY47" fmla="*/ 113336 h 153910"/>
                <a:gd name="connsiteX48" fmla="*/ 52882 w 117473"/>
                <a:gd name="connsiteY48" fmla="*/ 153911 h 153910"/>
                <a:gd name="connsiteX49" fmla="*/ 44632 w 117473"/>
                <a:gd name="connsiteY49" fmla="*/ 153911 h 153910"/>
                <a:gd name="connsiteX50" fmla="*/ 44632 w 117473"/>
                <a:gd name="connsiteY50" fmla="*/ 115668 h 153910"/>
                <a:gd name="connsiteX51" fmla="*/ 20262 w 117473"/>
                <a:gd name="connsiteY51" fmla="*/ 88634 h 153910"/>
                <a:gd name="connsiteX52" fmla="*/ 19826 w 117473"/>
                <a:gd name="connsiteY52" fmla="*/ 87959 h 153910"/>
                <a:gd name="connsiteX53" fmla="*/ 8400 w 117473"/>
                <a:gd name="connsiteY53" fmla="*/ 74504 h 153910"/>
                <a:gd name="connsiteX54" fmla="*/ 347 w 117473"/>
                <a:gd name="connsiteY54" fmla="*/ 60949 h 153910"/>
                <a:gd name="connsiteX55" fmla="*/ 448 w 117473"/>
                <a:gd name="connsiteY55" fmla="*/ 60579 h 153910"/>
                <a:gd name="connsiteX56" fmla="*/ 5705 w 117473"/>
                <a:gd name="connsiteY56" fmla="*/ 53875 h 153910"/>
                <a:gd name="connsiteX57" fmla="*/ 14306 w 117473"/>
                <a:gd name="connsiteY57" fmla="*/ 52885 h 153910"/>
                <a:gd name="connsiteX58" fmla="*/ 37804 w 117473"/>
                <a:gd name="connsiteY58" fmla="*/ 68813 h 153910"/>
                <a:gd name="connsiteX59" fmla="*/ 37862 w 117473"/>
                <a:gd name="connsiteY59" fmla="*/ 68813 h 153910"/>
                <a:gd name="connsiteX60" fmla="*/ 37873 w 117473"/>
                <a:gd name="connsiteY60" fmla="*/ 68794 h 153910"/>
                <a:gd name="connsiteX61" fmla="*/ 38528 w 117473"/>
                <a:gd name="connsiteY61" fmla="*/ 63603 h 153910"/>
                <a:gd name="connsiteX62" fmla="*/ 28060 w 117473"/>
                <a:gd name="connsiteY62" fmla="*/ 19100 h 153910"/>
                <a:gd name="connsiteX63" fmla="*/ 36807 w 117473"/>
                <a:gd name="connsiteY63" fmla="*/ 5035 h 153910"/>
                <a:gd name="connsiteX64" fmla="*/ 50872 w 117473"/>
                <a:gd name="connsiteY64" fmla="*/ 13781 h 153910"/>
                <a:gd name="connsiteX65" fmla="*/ 50921 w 117473"/>
                <a:gd name="connsiteY65" fmla="*/ 14002 h 153910"/>
                <a:gd name="connsiteX66" fmla="*/ 51379 w 117473"/>
                <a:gd name="connsiteY66" fmla="*/ 15960 h 153910"/>
                <a:gd name="connsiteX67" fmla="*/ 51457 w 117473"/>
                <a:gd name="connsiteY67" fmla="*/ 15951 h 153910"/>
                <a:gd name="connsiteX68" fmla="*/ 51457 w 117473"/>
                <a:gd name="connsiteY68" fmla="*/ 11955 h 153910"/>
                <a:gd name="connsiteX69" fmla="*/ 62812 w 117473"/>
                <a:gd name="connsiteY69" fmla="*/ 5 h 153910"/>
                <a:gd name="connsiteX70" fmla="*/ 74868 w 117473"/>
                <a:gd name="connsiteY70" fmla="*/ 11383 h 153910"/>
                <a:gd name="connsiteX71" fmla="*/ 74873 w 117473"/>
                <a:gd name="connsiteY71" fmla="*/ 11709 h 153910"/>
                <a:gd name="connsiteX72" fmla="*/ 74873 w 117473"/>
                <a:gd name="connsiteY72" fmla="*/ 15780 h 153910"/>
                <a:gd name="connsiteX73" fmla="*/ 74952 w 117473"/>
                <a:gd name="connsiteY73" fmla="*/ 15789 h 153910"/>
                <a:gd name="connsiteX74" fmla="*/ 75466 w 117473"/>
                <a:gd name="connsiteY74" fmla="*/ 13742 h 153910"/>
                <a:gd name="connsiteX75" fmla="*/ 80529 w 117473"/>
                <a:gd name="connsiteY75" fmla="*/ 6423 h 153910"/>
                <a:gd name="connsiteX76" fmla="*/ 89650 w 117473"/>
                <a:gd name="connsiteY76" fmla="*/ 5073 h 153910"/>
                <a:gd name="connsiteX77" fmla="*/ 96884 w 117473"/>
                <a:gd name="connsiteY77" fmla="*/ 10116 h 153910"/>
                <a:gd name="connsiteX78" fmla="*/ 98234 w 117473"/>
                <a:gd name="connsiteY78" fmla="*/ 19238 h 153910"/>
                <a:gd name="connsiteX79" fmla="*/ 95630 w 117473"/>
                <a:gd name="connsiteY79" fmla="*/ 29554 h 153910"/>
                <a:gd name="connsiteX80" fmla="*/ 95702 w 117473"/>
                <a:gd name="connsiteY80" fmla="*/ 29585 h 153910"/>
                <a:gd name="connsiteX81" fmla="*/ 96047 w 117473"/>
                <a:gd name="connsiteY81" fmla="*/ 28953 h 153910"/>
                <a:gd name="connsiteX82" fmla="*/ 111261 w 117473"/>
                <a:gd name="connsiteY82" fmla="*/ 25083 h 153910"/>
                <a:gd name="connsiteX83" fmla="*/ 117036 w 117473"/>
                <a:gd name="connsiteY83" fmla="*/ 32060 h 153910"/>
                <a:gd name="connsiteX84" fmla="*/ 116138 w 117473"/>
                <a:gd name="connsiteY84" fmla="*/ 40856 h 153910"/>
                <a:gd name="connsiteX85" fmla="*/ 100610 w 117473"/>
                <a:gd name="connsiteY85" fmla="*/ 68603 h 153910"/>
                <a:gd name="connsiteX86" fmla="*/ 86246 w 117473"/>
                <a:gd name="connsiteY86" fmla="*/ 113360 h 1539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</a:cxnLst>
              <a:rect l="l" t="t" r="r" b="b"/>
              <a:pathLst>
                <a:path w="117473" h="153910">
                  <a:moveTo>
                    <a:pt x="86246" y="153910"/>
                  </a:moveTo>
                  <a:lnTo>
                    <a:pt x="77996" y="153910"/>
                  </a:lnTo>
                  <a:lnTo>
                    <a:pt x="77996" y="111060"/>
                  </a:lnTo>
                  <a:cubicBezTo>
                    <a:pt x="77996" y="109515"/>
                    <a:pt x="78859" y="108100"/>
                    <a:pt x="80232" y="107393"/>
                  </a:cubicBezTo>
                  <a:cubicBezTo>
                    <a:pt x="84300" y="105296"/>
                    <a:pt x="91293" y="97299"/>
                    <a:pt x="92405" y="67300"/>
                  </a:cubicBezTo>
                  <a:cubicBezTo>
                    <a:pt x="92429" y="66646"/>
                    <a:pt x="92608" y="66007"/>
                    <a:pt x="92929" y="65437"/>
                  </a:cubicBezTo>
                  <a:lnTo>
                    <a:pt x="108851" y="36996"/>
                  </a:lnTo>
                  <a:cubicBezTo>
                    <a:pt x="109251" y="36156"/>
                    <a:pt x="109336" y="35200"/>
                    <a:pt x="109093" y="34302"/>
                  </a:cubicBezTo>
                  <a:cubicBezTo>
                    <a:pt x="108875" y="33498"/>
                    <a:pt x="108320" y="32827"/>
                    <a:pt x="107570" y="32462"/>
                  </a:cubicBezTo>
                  <a:cubicBezTo>
                    <a:pt x="105972" y="31485"/>
                    <a:pt x="103884" y="31989"/>
                    <a:pt x="102906" y="33587"/>
                  </a:cubicBezTo>
                  <a:cubicBezTo>
                    <a:pt x="102893" y="33609"/>
                    <a:pt x="102880" y="33631"/>
                    <a:pt x="102868" y="33653"/>
                  </a:cubicBezTo>
                  <a:lnTo>
                    <a:pt x="87608" y="60754"/>
                  </a:lnTo>
                  <a:cubicBezTo>
                    <a:pt x="86489" y="62738"/>
                    <a:pt x="83974" y="63440"/>
                    <a:pt x="81989" y="62321"/>
                  </a:cubicBezTo>
                  <a:cubicBezTo>
                    <a:pt x="80369" y="61408"/>
                    <a:pt x="79561" y="59524"/>
                    <a:pt x="80015" y="57720"/>
                  </a:cubicBezTo>
                  <a:lnTo>
                    <a:pt x="90254" y="17148"/>
                  </a:lnTo>
                  <a:cubicBezTo>
                    <a:pt x="90520" y="16262"/>
                    <a:pt x="90392" y="15304"/>
                    <a:pt x="89903" y="14519"/>
                  </a:cubicBezTo>
                  <a:cubicBezTo>
                    <a:pt x="89441" y="13779"/>
                    <a:pt x="88688" y="13269"/>
                    <a:pt x="87829" y="13116"/>
                  </a:cubicBezTo>
                  <a:cubicBezTo>
                    <a:pt x="86866" y="12783"/>
                    <a:pt x="85806" y="12889"/>
                    <a:pt x="84928" y="13405"/>
                  </a:cubicBezTo>
                  <a:cubicBezTo>
                    <a:pt x="84186" y="13866"/>
                    <a:pt x="83676" y="14622"/>
                    <a:pt x="83526" y="15482"/>
                  </a:cubicBezTo>
                  <a:lnTo>
                    <a:pt x="74748" y="50631"/>
                  </a:lnTo>
                  <a:cubicBezTo>
                    <a:pt x="74194" y="52841"/>
                    <a:pt x="71954" y="54184"/>
                    <a:pt x="69744" y="53630"/>
                  </a:cubicBezTo>
                  <a:cubicBezTo>
                    <a:pt x="67910" y="53170"/>
                    <a:pt x="66623" y="51522"/>
                    <a:pt x="66622" y="49631"/>
                  </a:cubicBezTo>
                  <a:lnTo>
                    <a:pt x="66622" y="11834"/>
                  </a:lnTo>
                  <a:cubicBezTo>
                    <a:pt x="66646" y="9984"/>
                    <a:pt x="65244" y="8427"/>
                    <a:pt x="63401" y="8258"/>
                  </a:cubicBezTo>
                  <a:cubicBezTo>
                    <a:pt x="61494" y="8129"/>
                    <a:pt x="59843" y="9570"/>
                    <a:pt x="59713" y="11477"/>
                  </a:cubicBezTo>
                  <a:cubicBezTo>
                    <a:pt x="59708" y="11554"/>
                    <a:pt x="59705" y="11632"/>
                    <a:pt x="59705" y="11709"/>
                  </a:cubicBezTo>
                  <a:lnTo>
                    <a:pt x="59705" y="52284"/>
                  </a:lnTo>
                  <a:cubicBezTo>
                    <a:pt x="59700" y="54562"/>
                    <a:pt x="57849" y="56404"/>
                    <a:pt x="55572" y="56400"/>
                  </a:cubicBezTo>
                  <a:cubicBezTo>
                    <a:pt x="53659" y="56395"/>
                    <a:pt x="52001" y="55078"/>
                    <a:pt x="51564" y="53216"/>
                  </a:cubicBezTo>
                  <a:lnTo>
                    <a:pt x="42847" y="15675"/>
                  </a:lnTo>
                  <a:cubicBezTo>
                    <a:pt x="42423" y="13807"/>
                    <a:pt x="40565" y="12636"/>
                    <a:pt x="38697" y="13059"/>
                  </a:cubicBezTo>
                  <a:cubicBezTo>
                    <a:pt x="36828" y="13483"/>
                    <a:pt x="35657" y="15341"/>
                    <a:pt x="36081" y="17210"/>
                  </a:cubicBezTo>
                  <a:cubicBezTo>
                    <a:pt x="36097" y="17280"/>
                    <a:pt x="36115" y="17349"/>
                    <a:pt x="36135" y="17418"/>
                  </a:cubicBezTo>
                  <a:lnTo>
                    <a:pt x="46706" y="62336"/>
                  </a:lnTo>
                  <a:cubicBezTo>
                    <a:pt x="46800" y="62741"/>
                    <a:pt x="46833" y="63159"/>
                    <a:pt x="46803" y="63574"/>
                  </a:cubicBezTo>
                  <a:cubicBezTo>
                    <a:pt x="46335" y="68934"/>
                    <a:pt x="45410" y="74245"/>
                    <a:pt x="44039" y="79448"/>
                  </a:cubicBezTo>
                  <a:cubicBezTo>
                    <a:pt x="43486" y="81658"/>
                    <a:pt x="41246" y="83001"/>
                    <a:pt x="39036" y="82448"/>
                  </a:cubicBezTo>
                  <a:cubicBezTo>
                    <a:pt x="38231" y="82246"/>
                    <a:pt x="37505" y="81807"/>
                    <a:pt x="36953" y="81186"/>
                  </a:cubicBezTo>
                  <a:cubicBezTo>
                    <a:pt x="36664" y="80936"/>
                    <a:pt x="36412" y="80646"/>
                    <a:pt x="36204" y="80326"/>
                  </a:cubicBezTo>
                  <a:cubicBezTo>
                    <a:pt x="30612" y="71260"/>
                    <a:pt x="22090" y="64377"/>
                    <a:pt x="12050" y="60817"/>
                  </a:cubicBezTo>
                  <a:cubicBezTo>
                    <a:pt x="11312" y="60569"/>
                    <a:pt x="10503" y="60643"/>
                    <a:pt x="9823" y="61024"/>
                  </a:cubicBezTo>
                  <a:cubicBezTo>
                    <a:pt x="9105" y="61452"/>
                    <a:pt x="8578" y="62141"/>
                    <a:pt x="8353" y="62946"/>
                  </a:cubicBezTo>
                  <a:cubicBezTo>
                    <a:pt x="7935" y="64495"/>
                    <a:pt x="8851" y="66089"/>
                    <a:pt x="10399" y="66507"/>
                  </a:cubicBezTo>
                  <a:cubicBezTo>
                    <a:pt x="10436" y="66517"/>
                    <a:pt x="10474" y="66526"/>
                    <a:pt x="10512" y="66535"/>
                  </a:cubicBezTo>
                  <a:cubicBezTo>
                    <a:pt x="16658" y="67943"/>
                    <a:pt x="21332" y="75137"/>
                    <a:pt x="26742" y="83466"/>
                  </a:cubicBezTo>
                  <a:lnTo>
                    <a:pt x="27193" y="84163"/>
                  </a:lnTo>
                  <a:cubicBezTo>
                    <a:pt x="33133" y="93445"/>
                    <a:pt x="40329" y="103816"/>
                    <a:pt x="50791" y="109747"/>
                  </a:cubicBezTo>
                  <a:cubicBezTo>
                    <a:pt x="52084" y="110480"/>
                    <a:pt x="52882" y="111850"/>
                    <a:pt x="52882" y="113336"/>
                  </a:cubicBezTo>
                  <a:lnTo>
                    <a:pt x="52882" y="153911"/>
                  </a:lnTo>
                  <a:lnTo>
                    <a:pt x="44632" y="153911"/>
                  </a:lnTo>
                  <a:lnTo>
                    <a:pt x="44632" y="115668"/>
                  </a:lnTo>
                  <a:cubicBezTo>
                    <a:pt x="34628" y="108549"/>
                    <a:pt x="26308" y="99321"/>
                    <a:pt x="20262" y="88634"/>
                  </a:cubicBezTo>
                  <a:lnTo>
                    <a:pt x="19826" y="87959"/>
                  </a:lnTo>
                  <a:cubicBezTo>
                    <a:pt x="15949" y="81994"/>
                    <a:pt x="11556" y="75232"/>
                    <a:pt x="8400" y="74504"/>
                  </a:cubicBezTo>
                  <a:cubicBezTo>
                    <a:pt x="2433" y="72985"/>
                    <a:pt x="-1172" y="66916"/>
                    <a:pt x="347" y="60949"/>
                  </a:cubicBezTo>
                  <a:cubicBezTo>
                    <a:pt x="379" y="60825"/>
                    <a:pt x="413" y="60702"/>
                    <a:pt x="448" y="60579"/>
                  </a:cubicBezTo>
                  <a:cubicBezTo>
                    <a:pt x="1276" y="57753"/>
                    <a:pt x="3158" y="55353"/>
                    <a:pt x="5705" y="53875"/>
                  </a:cubicBezTo>
                  <a:cubicBezTo>
                    <a:pt x="8309" y="52363"/>
                    <a:pt x="11426" y="52004"/>
                    <a:pt x="14306" y="52885"/>
                  </a:cubicBezTo>
                  <a:cubicBezTo>
                    <a:pt x="23498" y="55843"/>
                    <a:pt x="31652" y="61370"/>
                    <a:pt x="37804" y="68813"/>
                  </a:cubicBezTo>
                  <a:cubicBezTo>
                    <a:pt x="37820" y="68829"/>
                    <a:pt x="37847" y="68829"/>
                    <a:pt x="37862" y="68813"/>
                  </a:cubicBezTo>
                  <a:cubicBezTo>
                    <a:pt x="37868" y="68808"/>
                    <a:pt x="37871" y="68801"/>
                    <a:pt x="37873" y="68794"/>
                  </a:cubicBezTo>
                  <a:cubicBezTo>
                    <a:pt x="38149" y="67108"/>
                    <a:pt x="38381" y="65357"/>
                    <a:pt x="38528" y="63603"/>
                  </a:cubicBezTo>
                  <a:lnTo>
                    <a:pt x="28060" y="19100"/>
                  </a:lnTo>
                  <a:cubicBezTo>
                    <a:pt x="26591" y="12801"/>
                    <a:pt x="30507" y="6504"/>
                    <a:pt x="36807" y="5035"/>
                  </a:cubicBezTo>
                  <a:cubicBezTo>
                    <a:pt x="43106" y="3567"/>
                    <a:pt x="49403" y="7482"/>
                    <a:pt x="50872" y="13781"/>
                  </a:cubicBezTo>
                  <a:cubicBezTo>
                    <a:pt x="50889" y="13855"/>
                    <a:pt x="50905" y="13929"/>
                    <a:pt x="50921" y="14002"/>
                  </a:cubicBezTo>
                  <a:lnTo>
                    <a:pt x="51379" y="15960"/>
                  </a:lnTo>
                  <a:cubicBezTo>
                    <a:pt x="51422" y="16148"/>
                    <a:pt x="51457" y="16144"/>
                    <a:pt x="51457" y="15951"/>
                  </a:cubicBezTo>
                  <a:lnTo>
                    <a:pt x="51457" y="11955"/>
                  </a:lnTo>
                  <a:cubicBezTo>
                    <a:pt x="51407" y="5564"/>
                    <a:pt x="56427" y="282"/>
                    <a:pt x="62812" y="5"/>
                  </a:cubicBezTo>
                  <a:cubicBezTo>
                    <a:pt x="69283" y="-182"/>
                    <a:pt x="74681" y="4912"/>
                    <a:pt x="74868" y="11383"/>
                  </a:cubicBezTo>
                  <a:cubicBezTo>
                    <a:pt x="74872" y="11492"/>
                    <a:pt x="74873" y="11601"/>
                    <a:pt x="74873" y="11709"/>
                  </a:cubicBezTo>
                  <a:lnTo>
                    <a:pt x="74873" y="15780"/>
                  </a:lnTo>
                  <a:cubicBezTo>
                    <a:pt x="74873" y="15959"/>
                    <a:pt x="74909" y="15963"/>
                    <a:pt x="74952" y="15789"/>
                  </a:cubicBezTo>
                  <a:lnTo>
                    <a:pt x="75466" y="13742"/>
                  </a:lnTo>
                  <a:cubicBezTo>
                    <a:pt x="76070" y="10708"/>
                    <a:pt x="77903" y="8059"/>
                    <a:pt x="80529" y="6423"/>
                  </a:cubicBezTo>
                  <a:cubicBezTo>
                    <a:pt x="83247" y="4718"/>
                    <a:pt x="86555" y="4229"/>
                    <a:pt x="89650" y="5073"/>
                  </a:cubicBezTo>
                  <a:cubicBezTo>
                    <a:pt x="92652" y="5688"/>
                    <a:pt x="95268" y="7512"/>
                    <a:pt x="96884" y="10116"/>
                  </a:cubicBezTo>
                  <a:cubicBezTo>
                    <a:pt x="98587" y="12835"/>
                    <a:pt x="99076" y="16142"/>
                    <a:pt x="98234" y="19238"/>
                  </a:cubicBezTo>
                  <a:lnTo>
                    <a:pt x="95630" y="29554"/>
                  </a:lnTo>
                  <a:cubicBezTo>
                    <a:pt x="95593" y="29700"/>
                    <a:pt x="95625" y="29714"/>
                    <a:pt x="95702" y="29585"/>
                  </a:cubicBezTo>
                  <a:cubicBezTo>
                    <a:pt x="95837" y="29387"/>
                    <a:pt x="95953" y="29175"/>
                    <a:pt x="96047" y="28953"/>
                  </a:cubicBezTo>
                  <a:cubicBezTo>
                    <a:pt x="99334" y="23894"/>
                    <a:pt x="105956" y="22209"/>
                    <a:pt x="111261" y="25083"/>
                  </a:cubicBezTo>
                  <a:cubicBezTo>
                    <a:pt x="114091" y="26482"/>
                    <a:pt x="116191" y="29019"/>
                    <a:pt x="117036" y="32060"/>
                  </a:cubicBezTo>
                  <a:cubicBezTo>
                    <a:pt x="117845" y="35001"/>
                    <a:pt x="117525" y="38139"/>
                    <a:pt x="116138" y="40856"/>
                  </a:cubicBezTo>
                  <a:lnTo>
                    <a:pt x="100610" y="68603"/>
                  </a:lnTo>
                  <a:cubicBezTo>
                    <a:pt x="99616" y="92459"/>
                    <a:pt x="94906" y="107154"/>
                    <a:pt x="86246" y="113360"/>
                  </a:cubicBezTo>
                  <a:close/>
                </a:path>
              </a:pathLst>
            </a:custGeom>
            <a:solidFill>
              <a:schemeClr val="tx1"/>
            </a:solidFill>
            <a:ln w="1905" cap="flat">
              <a:solidFill>
                <a:schemeClr val="tx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srgbClr val="404955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164" name="Freihandform: Form 290">
              <a:extLst>
                <a:ext uri="{FF2B5EF4-FFF2-40B4-BE49-F238E27FC236}">
                  <a16:creationId xmlns:a16="http://schemas.microsoft.com/office/drawing/2014/main" id="{E9A789A8-BEC2-CD75-534B-B43ED4574ED6}"/>
                </a:ext>
              </a:extLst>
            </p:cNvPr>
            <p:cNvSpPr/>
            <p:nvPr/>
          </p:nvSpPr>
          <p:spPr>
            <a:xfrm>
              <a:off x="708021" y="1739111"/>
              <a:ext cx="166833" cy="135733"/>
            </a:xfrm>
            <a:custGeom>
              <a:avLst/>
              <a:gdLst>
                <a:gd name="connsiteX0" fmla="*/ 19835 w 152346"/>
                <a:gd name="connsiteY0" fmla="*/ 120148 h 120148"/>
                <a:gd name="connsiteX1" fmla="*/ 15944 w 152346"/>
                <a:gd name="connsiteY1" fmla="*/ 112875 h 120148"/>
                <a:gd name="connsiteX2" fmla="*/ 53476 w 152346"/>
                <a:gd name="connsiteY2" fmla="*/ 92778 h 120148"/>
                <a:gd name="connsiteX3" fmla="*/ 57786 w 152346"/>
                <a:gd name="connsiteY3" fmla="*/ 93036 h 120148"/>
                <a:gd name="connsiteX4" fmla="*/ 98311 w 152346"/>
                <a:gd name="connsiteY4" fmla="*/ 84762 h 120148"/>
                <a:gd name="connsiteX5" fmla="*/ 100205 w 152346"/>
                <a:gd name="connsiteY5" fmla="*/ 84327 h 120148"/>
                <a:gd name="connsiteX6" fmla="*/ 133188 w 152346"/>
                <a:gd name="connsiteY6" fmla="*/ 84705 h 120148"/>
                <a:gd name="connsiteX7" fmla="*/ 136623 w 152346"/>
                <a:gd name="connsiteY7" fmla="*/ 81223 h 120148"/>
                <a:gd name="connsiteX8" fmla="*/ 133140 w 152346"/>
                <a:gd name="connsiteY8" fmla="*/ 77788 h 120148"/>
                <a:gd name="connsiteX9" fmla="*/ 102380 w 152346"/>
                <a:gd name="connsiteY9" fmla="*/ 77408 h 120148"/>
                <a:gd name="connsiteX10" fmla="*/ 98306 w 152346"/>
                <a:gd name="connsiteY10" fmla="*/ 73232 h 120148"/>
                <a:gd name="connsiteX11" fmla="*/ 101413 w 152346"/>
                <a:gd name="connsiteY11" fmla="*/ 69286 h 120148"/>
                <a:gd name="connsiteX12" fmla="*/ 141600 w 152346"/>
                <a:gd name="connsiteY12" fmla="*/ 59048 h 120148"/>
                <a:gd name="connsiteX13" fmla="*/ 143699 w 152346"/>
                <a:gd name="connsiteY13" fmla="*/ 57411 h 120148"/>
                <a:gd name="connsiteX14" fmla="*/ 143972 w 152346"/>
                <a:gd name="connsiteY14" fmla="*/ 55128 h 120148"/>
                <a:gd name="connsiteX15" fmla="*/ 142289 w 152346"/>
                <a:gd name="connsiteY15" fmla="*/ 52859 h 120148"/>
                <a:gd name="connsiteX16" fmla="*/ 140008 w 152346"/>
                <a:gd name="connsiteY16" fmla="*/ 52586 h 120148"/>
                <a:gd name="connsiteX17" fmla="*/ 104990 w 152346"/>
                <a:gd name="connsiteY17" fmla="*/ 61728 h 120148"/>
                <a:gd name="connsiteX18" fmla="*/ 99957 w 152346"/>
                <a:gd name="connsiteY18" fmla="*/ 58778 h 120148"/>
                <a:gd name="connsiteX19" fmla="*/ 101973 w 152346"/>
                <a:gd name="connsiteY19" fmla="*/ 54115 h 120148"/>
                <a:gd name="connsiteX20" fmla="*/ 135335 w 152346"/>
                <a:gd name="connsiteY20" fmla="*/ 35914 h 120148"/>
                <a:gd name="connsiteX21" fmla="*/ 136738 w 152346"/>
                <a:gd name="connsiteY21" fmla="*/ 31273 h 120148"/>
                <a:gd name="connsiteX22" fmla="*/ 132097 w 152346"/>
                <a:gd name="connsiteY22" fmla="*/ 29871 h 120148"/>
                <a:gd name="connsiteX23" fmla="*/ 131953 w 152346"/>
                <a:gd name="connsiteY23" fmla="*/ 29952 h 120148"/>
                <a:gd name="connsiteX24" fmla="*/ 96407 w 152346"/>
                <a:gd name="connsiteY24" fmla="*/ 48866 h 120148"/>
                <a:gd name="connsiteX25" fmla="*/ 90830 w 152346"/>
                <a:gd name="connsiteY25" fmla="*/ 47156 h 120148"/>
                <a:gd name="connsiteX26" fmla="*/ 91742 w 152346"/>
                <a:gd name="connsiteY26" fmla="*/ 42130 h 120148"/>
                <a:gd name="connsiteX27" fmla="*/ 120556 w 152346"/>
                <a:gd name="connsiteY27" fmla="*/ 16724 h 120148"/>
                <a:gd name="connsiteX28" fmla="*/ 121680 w 152346"/>
                <a:gd name="connsiteY28" fmla="*/ 14350 h 120148"/>
                <a:gd name="connsiteX29" fmla="*/ 120934 w 152346"/>
                <a:gd name="connsiteY29" fmla="*/ 11917 h 120148"/>
                <a:gd name="connsiteX30" fmla="*/ 118574 w 152346"/>
                <a:gd name="connsiteY30" fmla="*/ 10803 h 120148"/>
                <a:gd name="connsiteX31" fmla="*/ 116140 w 152346"/>
                <a:gd name="connsiteY31" fmla="*/ 11545 h 120148"/>
                <a:gd name="connsiteX32" fmla="*/ 81255 w 152346"/>
                <a:gd name="connsiteY32" fmla="*/ 41887 h 120148"/>
                <a:gd name="connsiteX33" fmla="*/ 80277 w 152346"/>
                <a:gd name="connsiteY33" fmla="*/ 42520 h 120148"/>
                <a:gd name="connsiteX34" fmla="*/ 64389 w 152346"/>
                <a:gd name="connsiteY34" fmla="*/ 47401 h 120148"/>
                <a:gd name="connsiteX35" fmla="*/ 59684 w 152346"/>
                <a:gd name="connsiteY35" fmla="*/ 43958 h 120148"/>
                <a:gd name="connsiteX36" fmla="*/ 59636 w 152346"/>
                <a:gd name="connsiteY36" fmla="*/ 43325 h 120148"/>
                <a:gd name="connsiteX37" fmla="*/ 60949 w 152346"/>
                <a:gd name="connsiteY37" fmla="*/ 40149 h 120148"/>
                <a:gd name="connsiteX38" fmla="*/ 66187 w 152346"/>
                <a:gd name="connsiteY38" fmla="*/ 10501 h 120148"/>
                <a:gd name="connsiteX39" fmla="*/ 64894 w 152346"/>
                <a:gd name="connsiteY39" fmla="*/ 8769 h 120148"/>
                <a:gd name="connsiteX40" fmla="*/ 62300 w 152346"/>
                <a:gd name="connsiteY40" fmla="*/ 8311 h 120148"/>
                <a:gd name="connsiteX41" fmla="*/ 60225 w 152346"/>
                <a:gd name="connsiteY41" fmla="*/ 12180 h 120148"/>
                <a:gd name="connsiteX42" fmla="*/ 53075 w 152346"/>
                <a:gd name="connsiteY42" fmla="*/ 34879 h 120148"/>
                <a:gd name="connsiteX43" fmla="*/ 41731 w 152346"/>
                <a:gd name="connsiteY43" fmla="*/ 68090 h 120148"/>
                <a:gd name="connsiteX44" fmla="*/ 39572 w 152346"/>
                <a:gd name="connsiteY44" fmla="*/ 71596 h 120148"/>
                <a:gd name="connsiteX45" fmla="*/ 3932 w 152346"/>
                <a:gd name="connsiteY45" fmla="*/ 90935 h 120148"/>
                <a:gd name="connsiteX46" fmla="*/ 0 w 152346"/>
                <a:gd name="connsiteY46" fmla="*/ 83684 h 120148"/>
                <a:gd name="connsiteX47" fmla="*/ 33608 w 152346"/>
                <a:gd name="connsiteY47" fmla="*/ 65446 h 120148"/>
                <a:gd name="connsiteX48" fmla="*/ 45722 w 152346"/>
                <a:gd name="connsiteY48" fmla="*/ 31129 h 120148"/>
                <a:gd name="connsiteX49" fmla="*/ 52159 w 152346"/>
                <a:gd name="connsiteY49" fmla="*/ 13913 h 120148"/>
                <a:gd name="connsiteX50" fmla="*/ 60679 w 152346"/>
                <a:gd name="connsiteY50" fmla="*/ 218 h 120148"/>
                <a:gd name="connsiteX51" fmla="*/ 69078 w 152346"/>
                <a:gd name="connsiteY51" fmla="*/ 1656 h 120148"/>
                <a:gd name="connsiteX52" fmla="*/ 74250 w 152346"/>
                <a:gd name="connsiteY52" fmla="*/ 8764 h 120148"/>
                <a:gd name="connsiteX53" fmla="*/ 71271 w 152346"/>
                <a:gd name="connsiteY53" fmla="*/ 37172 h 120148"/>
                <a:gd name="connsiteX54" fmla="*/ 71299 w 152346"/>
                <a:gd name="connsiteY54" fmla="*/ 37223 h 120148"/>
                <a:gd name="connsiteX55" fmla="*/ 71320 w 152346"/>
                <a:gd name="connsiteY55" fmla="*/ 37224 h 120148"/>
                <a:gd name="connsiteX56" fmla="*/ 76293 w 152346"/>
                <a:gd name="connsiteY56" fmla="*/ 35265 h 120148"/>
                <a:gd name="connsiteX57" fmla="*/ 110719 w 152346"/>
                <a:gd name="connsiteY57" fmla="*/ 5322 h 120148"/>
                <a:gd name="connsiteX58" fmla="*/ 127146 w 152346"/>
                <a:gd name="connsiteY58" fmla="*/ 6477 h 120148"/>
                <a:gd name="connsiteX59" fmla="*/ 129910 w 152346"/>
                <a:gd name="connsiteY59" fmla="*/ 14945 h 120148"/>
                <a:gd name="connsiteX60" fmla="*/ 125999 w 152346"/>
                <a:gd name="connsiteY60" fmla="*/ 22915 h 120148"/>
                <a:gd name="connsiteX61" fmla="*/ 123808 w 152346"/>
                <a:gd name="connsiteY61" fmla="*/ 24847 h 120148"/>
                <a:gd name="connsiteX62" fmla="*/ 123853 w 152346"/>
                <a:gd name="connsiteY62" fmla="*/ 24912 h 120148"/>
                <a:gd name="connsiteX63" fmla="*/ 128170 w 152346"/>
                <a:gd name="connsiteY63" fmla="*/ 22616 h 120148"/>
                <a:gd name="connsiteX64" fmla="*/ 143964 w 152346"/>
                <a:gd name="connsiteY64" fmla="*/ 27425 h 120148"/>
                <a:gd name="connsiteX65" fmla="*/ 139155 w 152346"/>
                <a:gd name="connsiteY65" fmla="*/ 43219 h 120148"/>
                <a:gd name="connsiteX66" fmla="*/ 135703 w 152346"/>
                <a:gd name="connsiteY66" fmla="*/ 45103 h 120148"/>
                <a:gd name="connsiteX67" fmla="*/ 135732 w 152346"/>
                <a:gd name="connsiteY67" fmla="*/ 45176 h 120148"/>
                <a:gd name="connsiteX68" fmla="*/ 136322 w 152346"/>
                <a:gd name="connsiteY68" fmla="*/ 45025 h 120148"/>
                <a:gd name="connsiteX69" fmla="*/ 146293 w 152346"/>
                <a:gd name="connsiteY69" fmla="*/ 45644 h 120148"/>
                <a:gd name="connsiteX70" fmla="*/ 151903 w 152346"/>
                <a:gd name="connsiteY70" fmla="*/ 52856 h 120148"/>
                <a:gd name="connsiteX71" fmla="*/ 150913 w 152346"/>
                <a:gd name="connsiteY71" fmla="*/ 61409 h 120148"/>
                <a:gd name="connsiteX72" fmla="*/ 143706 w 152346"/>
                <a:gd name="connsiteY72" fmla="*/ 67019 h 120148"/>
                <a:gd name="connsiteX73" fmla="*/ 134015 w 152346"/>
                <a:gd name="connsiteY73" fmla="*/ 69489 h 120148"/>
                <a:gd name="connsiteX74" fmla="*/ 134022 w 152346"/>
                <a:gd name="connsiteY74" fmla="*/ 69563 h 120148"/>
                <a:gd name="connsiteX75" fmla="*/ 144859 w 152346"/>
                <a:gd name="connsiteY75" fmla="*/ 82088 h 120148"/>
                <a:gd name="connsiteX76" fmla="*/ 133141 w 152346"/>
                <a:gd name="connsiteY76" fmla="*/ 92954 h 120148"/>
                <a:gd name="connsiteX77" fmla="*/ 101104 w 152346"/>
                <a:gd name="connsiteY77" fmla="*/ 92586 h 120148"/>
                <a:gd name="connsiteX78" fmla="*/ 55338 w 152346"/>
                <a:gd name="connsiteY78" fmla="*/ 101138 h 1201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</a:cxnLst>
              <a:rect l="l" t="t" r="r" b="b"/>
              <a:pathLst>
                <a:path w="152346" h="120148">
                  <a:moveTo>
                    <a:pt x="19835" y="120148"/>
                  </a:moveTo>
                  <a:lnTo>
                    <a:pt x="15944" y="112875"/>
                  </a:lnTo>
                  <a:lnTo>
                    <a:pt x="53476" y="92778"/>
                  </a:lnTo>
                  <a:cubicBezTo>
                    <a:pt x="54847" y="92045"/>
                    <a:pt x="56513" y="92145"/>
                    <a:pt x="57786" y="93036"/>
                  </a:cubicBezTo>
                  <a:cubicBezTo>
                    <a:pt x="64135" y="97479"/>
                    <a:pt x="78906" y="94467"/>
                    <a:pt x="98311" y="84762"/>
                  </a:cubicBezTo>
                  <a:cubicBezTo>
                    <a:pt x="98899" y="84470"/>
                    <a:pt x="99548" y="84321"/>
                    <a:pt x="100205" y="84327"/>
                  </a:cubicBezTo>
                  <a:lnTo>
                    <a:pt x="133188" y="84705"/>
                  </a:lnTo>
                  <a:cubicBezTo>
                    <a:pt x="135099" y="84692"/>
                    <a:pt x="136637" y="83132"/>
                    <a:pt x="136623" y="81223"/>
                  </a:cubicBezTo>
                  <a:cubicBezTo>
                    <a:pt x="136610" y="79312"/>
                    <a:pt x="135050" y="77774"/>
                    <a:pt x="133140" y="77788"/>
                  </a:cubicBezTo>
                  <a:lnTo>
                    <a:pt x="102380" y="77408"/>
                  </a:lnTo>
                  <a:cubicBezTo>
                    <a:pt x="100102" y="77380"/>
                    <a:pt x="98278" y="75511"/>
                    <a:pt x="98306" y="73232"/>
                  </a:cubicBezTo>
                  <a:cubicBezTo>
                    <a:pt x="98329" y="71365"/>
                    <a:pt x="99604" y="69747"/>
                    <a:pt x="101413" y="69286"/>
                  </a:cubicBezTo>
                  <a:lnTo>
                    <a:pt x="141600" y="59048"/>
                  </a:lnTo>
                  <a:cubicBezTo>
                    <a:pt x="142490" y="58805"/>
                    <a:pt x="143246" y="58215"/>
                    <a:pt x="143699" y="57411"/>
                  </a:cubicBezTo>
                  <a:cubicBezTo>
                    <a:pt x="144097" y="56719"/>
                    <a:pt x="144196" y="55895"/>
                    <a:pt x="143972" y="55128"/>
                  </a:cubicBezTo>
                  <a:cubicBezTo>
                    <a:pt x="143748" y="54172"/>
                    <a:pt x="143139" y="53351"/>
                    <a:pt x="142289" y="52859"/>
                  </a:cubicBezTo>
                  <a:cubicBezTo>
                    <a:pt x="141597" y="52463"/>
                    <a:pt x="140774" y="52364"/>
                    <a:pt x="140008" y="52586"/>
                  </a:cubicBezTo>
                  <a:lnTo>
                    <a:pt x="104990" y="61728"/>
                  </a:lnTo>
                  <a:cubicBezTo>
                    <a:pt x="102786" y="62303"/>
                    <a:pt x="100533" y="60982"/>
                    <a:pt x="99957" y="58778"/>
                  </a:cubicBezTo>
                  <a:cubicBezTo>
                    <a:pt x="99479" y="56945"/>
                    <a:pt x="100311" y="55023"/>
                    <a:pt x="101973" y="54115"/>
                  </a:cubicBezTo>
                  <a:lnTo>
                    <a:pt x="135335" y="35914"/>
                  </a:lnTo>
                  <a:cubicBezTo>
                    <a:pt x="137004" y="35020"/>
                    <a:pt x="137632" y="32942"/>
                    <a:pt x="136738" y="31273"/>
                  </a:cubicBezTo>
                  <a:cubicBezTo>
                    <a:pt x="135844" y="29604"/>
                    <a:pt x="133766" y="28976"/>
                    <a:pt x="132097" y="29871"/>
                  </a:cubicBezTo>
                  <a:cubicBezTo>
                    <a:pt x="132049" y="29897"/>
                    <a:pt x="132000" y="29924"/>
                    <a:pt x="131953" y="29952"/>
                  </a:cubicBezTo>
                  <a:lnTo>
                    <a:pt x="96407" y="48866"/>
                  </a:lnTo>
                  <a:cubicBezTo>
                    <a:pt x="94395" y="49934"/>
                    <a:pt x="91898" y="49168"/>
                    <a:pt x="90830" y="47156"/>
                  </a:cubicBezTo>
                  <a:cubicBezTo>
                    <a:pt x="89936" y="45471"/>
                    <a:pt x="90313" y="43393"/>
                    <a:pt x="91742" y="42130"/>
                  </a:cubicBezTo>
                  <a:lnTo>
                    <a:pt x="120556" y="16724"/>
                  </a:lnTo>
                  <a:cubicBezTo>
                    <a:pt x="121225" y="16109"/>
                    <a:pt x="121629" y="15258"/>
                    <a:pt x="121680" y="14350"/>
                  </a:cubicBezTo>
                  <a:cubicBezTo>
                    <a:pt x="121765" y="13472"/>
                    <a:pt x="121497" y="12597"/>
                    <a:pt x="120934" y="11917"/>
                  </a:cubicBezTo>
                  <a:cubicBezTo>
                    <a:pt x="120323" y="11252"/>
                    <a:pt x="119476" y="10852"/>
                    <a:pt x="118574" y="10803"/>
                  </a:cubicBezTo>
                  <a:cubicBezTo>
                    <a:pt x="117697" y="10720"/>
                    <a:pt x="116822" y="10987"/>
                    <a:pt x="116140" y="11545"/>
                  </a:cubicBezTo>
                  <a:lnTo>
                    <a:pt x="81255" y="41887"/>
                  </a:lnTo>
                  <a:cubicBezTo>
                    <a:pt x="80961" y="42143"/>
                    <a:pt x="80631" y="42357"/>
                    <a:pt x="80277" y="42520"/>
                  </a:cubicBezTo>
                  <a:cubicBezTo>
                    <a:pt x="75234" y="44880"/>
                    <a:pt x="69887" y="46523"/>
                    <a:pt x="64389" y="47401"/>
                  </a:cubicBezTo>
                  <a:cubicBezTo>
                    <a:pt x="62139" y="47749"/>
                    <a:pt x="60032" y="46208"/>
                    <a:pt x="59684" y="43958"/>
                  </a:cubicBezTo>
                  <a:cubicBezTo>
                    <a:pt x="59652" y="43749"/>
                    <a:pt x="59636" y="43537"/>
                    <a:pt x="59636" y="43325"/>
                  </a:cubicBezTo>
                  <a:cubicBezTo>
                    <a:pt x="59635" y="42134"/>
                    <a:pt x="60107" y="40991"/>
                    <a:pt x="60949" y="40149"/>
                  </a:cubicBezTo>
                  <a:cubicBezTo>
                    <a:pt x="65900" y="31109"/>
                    <a:pt x="67741" y="20691"/>
                    <a:pt x="66187" y="10501"/>
                  </a:cubicBezTo>
                  <a:cubicBezTo>
                    <a:pt x="66024" y="9766"/>
                    <a:pt x="65553" y="9135"/>
                    <a:pt x="64894" y="8769"/>
                  </a:cubicBezTo>
                  <a:cubicBezTo>
                    <a:pt x="64111" y="8313"/>
                    <a:pt x="63192" y="8151"/>
                    <a:pt x="62300" y="8311"/>
                  </a:cubicBezTo>
                  <a:cubicBezTo>
                    <a:pt x="60729" y="8890"/>
                    <a:pt x="59838" y="10551"/>
                    <a:pt x="60225" y="12180"/>
                  </a:cubicBezTo>
                  <a:cubicBezTo>
                    <a:pt x="61675" y="18453"/>
                    <a:pt x="57687" y="26065"/>
                    <a:pt x="53075" y="34879"/>
                  </a:cubicBezTo>
                  <a:cubicBezTo>
                    <a:pt x="47250" y="45702"/>
                    <a:pt x="42066" y="56251"/>
                    <a:pt x="41731" y="68090"/>
                  </a:cubicBezTo>
                  <a:cubicBezTo>
                    <a:pt x="41687" y="69560"/>
                    <a:pt x="40864" y="70895"/>
                    <a:pt x="39572" y="71596"/>
                  </a:cubicBezTo>
                  <a:lnTo>
                    <a:pt x="3932" y="90935"/>
                  </a:lnTo>
                  <a:lnTo>
                    <a:pt x="0" y="83684"/>
                  </a:lnTo>
                  <a:lnTo>
                    <a:pt x="33608" y="65446"/>
                  </a:lnTo>
                  <a:cubicBezTo>
                    <a:pt x="35212" y="53288"/>
                    <a:pt x="39338" y="41600"/>
                    <a:pt x="45722" y="31129"/>
                  </a:cubicBezTo>
                  <a:cubicBezTo>
                    <a:pt x="49130" y="24620"/>
                    <a:pt x="52949" y="17330"/>
                    <a:pt x="52159" y="13913"/>
                  </a:cubicBezTo>
                  <a:cubicBezTo>
                    <a:pt x="50804" y="7791"/>
                    <a:pt x="54588" y="1708"/>
                    <a:pt x="60679" y="218"/>
                  </a:cubicBezTo>
                  <a:cubicBezTo>
                    <a:pt x="63560" y="-336"/>
                    <a:pt x="66545" y="175"/>
                    <a:pt x="69078" y="1656"/>
                  </a:cubicBezTo>
                  <a:cubicBezTo>
                    <a:pt x="71747" y="3168"/>
                    <a:pt x="73632" y="5759"/>
                    <a:pt x="74250" y="8764"/>
                  </a:cubicBezTo>
                  <a:cubicBezTo>
                    <a:pt x="75966" y="18324"/>
                    <a:pt x="74933" y="28176"/>
                    <a:pt x="71271" y="37172"/>
                  </a:cubicBezTo>
                  <a:cubicBezTo>
                    <a:pt x="71264" y="37194"/>
                    <a:pt x="71277" y="37217"/>
                    <a:pt x="71299" y="37223"/>
                  </a:cubicBezTo>
                  <a:cubicBezTo>
                    <a:pt x="71306" y="37225"/>
                    <a:pt x="71313" y="37225"/>
                    <a:pt x="71320" y="37224"/>
                  </a:cubicBezTo>
                  <a:cubicBezTo>
                    <a:pt x="72981" y="36663"/>
                    <a:pt x="74639" y="36010"/>
                    <a:pt x="76293" y="35265"/>
                  </a:cubicBezTo>
                  <a:lnTo>
                    <a:pt x="110719" y="5322"/>
                  </a:lnTo>
                  <a:cubicBezTo>
                    <a:pt x="115604" y="1195"/>
                    <a:pt x="122886" y="1708"/>
                    <a:pt x="127146" y="6477"/>
                  </a:cubicBezTo>
                  <a:cubicBezTo>
                    <a:pt x="129153" y="8822"/>
                    <a:pt x="130147" y="11868"/>
                    <a:pt x="129910" y="14945"/>
                  </a:cubicBezTo>
                  <a:cubicBezTo>
                    <a:pt x="129696" y="18011"/>
                    <a:pt x="128292" y="20870"/>
                    <a:pt x="125999" y="22915"/>
                  </a:cubicBezTo>
                  <a:lnTo>
                    <a:pt x="123808" y="24847"/>
                  </a:lnTo>
                  <a:cubicBezTo>
                    <a:pt x="123668" y="24971"/>
                    <a:pt x="123688" y="25000"/>
                    <a:pt x="123853" y="24912"/>
                  </a:cubicBezTo>
                  <a:lnTo>
                    <a:pt x="128170" y="22616"/>
                  </a:lnTo>
                  <a:cubicBezTo>
                    <a:pt x="133859" y="19583"/>
                    <a:pt x="140930" y="21736"/>
                    <a:pt x="143964" y="27425"/>
                  </a:cubicBezTo>
                  <a:cubicBezTo>
                    <a:pt x="146997" y="33114"/>
                    <a:pt x="144844" y="40186"/>
                    <a:pt x="139155" y="43219"/>
                  </a:cubicBezTo>
                  <a:lnTo>
                    <a:pt x="135703" y="45103"/>
                  </a:lnTo>
                  <a:cubicBezTo>
                    <a:pt x="135550" y="45186"/>
                    <a:pt x="135563" y="45220"/>
                    <a:pt x="135732" y="45176"/>
                  </a:cubicBezTo>
                  <a:cubicBezTo>
                    <a:pt x="135732" y="45176"/>
                    <a:pt x="136206" y="45050"/>
                    <a:pt x="136322" y="45025"/>
                  </a:cubicBezTo>
                  <a:cubicBezTo>
                    <a:pt x="139632" y="44225"/>
                    <a:pt x="143107" y="44440"/>
                    <a:pt x="146293" y="45644"/>
                  </a:cubicBezTo>
                  <a:cubicBezTo>
                    <a:pt x="149067" y="47184"/>
                    <a:pt x="151093" y="49788"/>
                    <a:pt x="151903" y="52856"/>
                  </a:cubicBezTo>
                  <a:cubicBezTo>
                    <a:pt x="152740" y="55724"/>
                    <a:pt x="152383" y="58808"/>
                    <a:pt x="150913" y="61409"/>
                  </a:cubicBezTo>
                  <a:cubicBezTo>
                    <a:pt x="149372" y="64180"/>
                    <a:pt x="146771" y="66205"/>
                    <a:pt x="143706" y="67019"/>
                  </a:cubicBezTo>
                  <a:lnTo>
                    <a:pt x="134015" y="69489"/>
                  </a:lnTo>
                  <a:cubicBezTo>
                    <a:pt x="133886" y="69522"/>
                    <a:pt x="133891" y="69553"/>
                    <a:pt x="134022" y="69563"/>
                  </a:cubicBezTo>
                  <a:cubicBezTo>
                    <a:pt x="140474" y="70029"/>
                    <a:pt x="145325" y="75636"/>
                    <a:pt x="144859" y="82088"/>
                  </a:cubicBezTo>
                  <a:cubicBezTo>
                    <a:pt x="144415" y="88226"/>
                    <a:pt x="139295" y="92974"/>
                    <a:pt x="133141" y="92954"/>
                  </a:cubicBezTo>
                  <a:lnTo>
                    <a:pt x="101104" y="92586"/>
                  </a:lnTo>
                  <a:cubicBezTo>
                    <a:pt x="80177" y="102917"/>
                    <a:pt x="64796" y="105786"/>
                    <a:pt x="55338" y="101138"/>
                  </a:cubicBezTo>
                  <a:close/>
                </a:path>
              </a:pathLst>
            </a:custGeom>
            <a:solidFill>
              <a:schemeClr val="tx1"/>
            </a:solidFill>
            <a:ln w="1905" cap="flat">
              <a:solidFill>
                <a:schemeClr val="tx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srgbClr val="404955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165" name="Freihandform: Form 291">
              <a:extLst>
                <a:ext uri="{FF2B5EF4-FFF2-40B4-BE49-F238E27FC236}">
                  <a16:creationId xmlns:a16="http://schemas.microsoft.com/office/drawing/2014/main" id="{19086E86-7F1E-FC48-E3CA-7632495A119A}"/>
                </a:ext>
              </a:extLst>
            </p:cNvPr>
            <p:cNvSpPr/>
            <p:nvPr/>
          </p:nvSpPr>
          <p:spPr>
            <a:xfrm>
              <a:off x="967955" y="1736546"/>
              <a:ext cx="152100" cy="160056"/>
            </a:xfrm>
            <a:custGeom>
              <a:avLst/>
              <a:gdLst>
                <a:gd name="connsiteX0" fmla="*/ 108556 w 138893"/>
                <a:gd name="connsiteY0" fmla="*/ 141679 h 141678"/>
                <a:gd name="connsiteX1" fmla="*/ 82846 w 138893"/>
                <a:gd name="connsiteY1" fmla="*/ 113819 h 141678"/>
                <a:gd name="connsiteX2" fmla="*/ 46551 w 138893"/>
                <a:gd name="connsiteY2" fmla="*/ 110659 h 141678"/>
                <a:gd name="connsiteX3" fmla="*/ 28266 w 138893"/>
                <a:gd name="connsiteY3" fmla="*/ 108374 h 141678"/>
                <a:gd name="connsiteX4" fmla="*/ 19674 w 138893"/>
                <a:gd name="connsiteY4" fmla="*/ 109140 h 141678"/>
                <a:gd name="connsiteX5" fmla="*/ 13204 w 138893"/>
                <a:gd name="connsiteY5" fmla="*/ 103720 h 141678"/>
                <a:gd name="connsiteX6" fmla="*/ 12421 w 138893"/>
                <a:gd name="connsiteY6" fmla="*/ 95105 h 141678"/>
                <a:gd name="connsiteX7" fmla="*/ 17839 w 138893"/>
                <a:gd name="connsiteY7" fmla="*/ 88634 h 141678"/>
                <a:gd name="connsiteX8" fmla="*/ 45886 w 138893"/>
                <a:gd name="connsiteY8" fmla="*/ 84147 h 141678"/>
                <a:gd name="connsiteX9" fmla="*/ 45928 w 138893"/>
                <a:gd name="connsiteY9" fmla="*/ 84107 h 141678"/>
                <a:gd name="connsiteX10" fmla="*/ 45923 w 138893"/>
                <a:gd name="connsiteY10" fmla="*/ 84087 h 141678"/>
                <a:gd name="connsiteX11" fmla="*/ 42794 w 138893"/>
                <a:gd name="connsiteY11" fmla="*/ 79755 h 141678"/>
                <a:gd name="connsiteX12" fmla="*/ 5004 w 138893"/>
                <a:gd name="connsiteY12" fmla="*/ 53933 h 141678"/>
                <a:gd name="connsiteX13" fmla="*/ 2003 w 138893"/>
                <a:gd name="connsiteY13" fmla="*/ 37623 h 141678"/>
                <a:gd name="connsiteX14" fmla="*/ 16280 w 138893"/>
                <a:gd name="connsiteY14" fmla="*/ 33191 h 141678"/>
                <a:gd name="connsiteX15" fmla="*/ 20206 w 138893"/>
                <a:gd name="connsiteY15" fmla="*/ 35846 h 141678"/>
                <a:gd name="connsiteX16" fmla="*/ 20257 w 138893"/>
                <a:gd name="connsiteY16" fmla="*/ 35787 h 141678"/>
                <a:gd name="connsiteX17" fmla="*/ 17194 w 138893"/>
                <a:gd name="connsiteY17" fmla="*/ 32470 h 141678"/>
                <a:gd name="connsiteX18" fmla="*/ 17385 w 138893"/>
                <a:gd name="connsiteY18" fmla="*/ 16420 h 141678"/>
                <a:gd name="connsiteX19" fmla="*/ 17685 w 138893"/>
                <a:gd name="connsiteY19" fmla="*/ 16137 h 141678"/>
                <a:gd name="connsiteX20" fmla="*/ 26117 w 138893"/>
                <a:gd name="connsiteY20" fmla="*/ 12848 h 141678"/>
                <a:gd name="connsiteX21" fmla="*/ 34133 w 138893"/>
                <a:gd name="connsiteY21" fmla="*/ 16516 h 141678"/>
                <a:gd name="connsiteX22" fmla="*/ 37338 w 138893"/>
                <a:gd name="connsiteY22" fmla="*/ 19956 h 141678"/>
                <a:gd name="connsiteX23" fmla="*/ 37402 w 138893"/>
                <a:gd name="connsiteY23" fmla="*/ 19909 h 141678"/>
                <a:gd name="connsiteX24" fmla="*/ 35942 w 138893"/>
                <a:gd name="connsiteY24" fmla="*/ 17242 h 141678"/>
                <a:gd name="connsiteX25" fmla="*/ 34971 w 138893"/>
                <a:gd name="connsiteY25" fmla="*/ 8312 h 141678"/>
                <a:gd name="connsiteX26" fmla="*/ 40746 w 138893"/>
                <a:gd name="connsiteY26" fmla="*/ 1333 h 141678"/>
                <a:gd name="connsiteX27" fmla="*/ 49543 w 138893"/>
                <a:gd name="connsiteY27" fmla="*/ 437 h 141678"/>
                <a:gd name="connsiteX28" fmla="*/ 56515 w 138893"/>
                <a:gd name="connsiteY28" fmla="*/ 6212 h 141678"/>
                <a:gd name="connsiteX29" fmla="*/ 61643 w 138893"/>
                <a:gd name="connsiteY29" fmla="*/ 15501 h 141678"/>
                <a:gd name="connsiteX30" fmla="*/ 61717 w 138893"/>
                <a:gd name="connsiteY30" fmla="*/ 15475 h 141678"/>
                <a:gd name="connsiteX31" fmla="*/ 61676 w 138893"/>
                <a:gd name="connsiteY31" fmla="*/ 15288 h 141678"/>
                <a:gd name="connsiteX32" fmla="*/ 70637 w 138893"/>
                <a:gd name="connsiteY32" fmla="*/ 1366 h 141678"/>
                <a:gd name="connsiteX33" fmla="*/ 84483 w 138893"/>
                <a:gd name="connsiteY33" fmla="*/ 10002 h 141678"/>
                <a:gd name="connsiteX34" fmla="*/ 91855 w 138893"/>
                <a:gd name="connsiteY34" fmla="*/ 40973 h 141678"/>
                <a:gd name="connsiteX35" fmla="*/ 111634 w 138893"/>
                <a:gd name="connsiteY35" fmla="*/ 83564 h 141678"/>
                <a:gd name="connsiteX36" fmla="*/ 138893 w 138893"/>
                <a:gd name="connsiteY36" fmla="*/ 113344 h 141678"/>
                <a:gd name="connsiteX37" fmla="*/ 132811 w 138893"/>
                <a:gd name="connsiteY37" fmla="*/ 118915 h 141678"/>
                <a:gd name="connsiteX38" fmla="*/ 103996 w 138893"/>
                <a:gd name="connsiteY38" fmla="*/ 87441 h 141678"/>
                <a:gd name="connsiteX39" fmla="*/ 103171 w 138893"/>
                <a:gd name="connsiteY39" fmla="*/ 83219 h 141678"/>
                <a:gd name="connsiteX40" fmla="*/ 85021 w 138893"/>
                <a:gd name="connsiteY40" fmla="*/ 45702 h 141678"/>
                <a:gd name="connsiteX41" fmla="*/ 84072 w 138893"/>
                <a:gd name="connsiteY41" fmla="*/ 43898 h 141678"/>
                <a:gd name="connsiteX42" fmla="*/ 76491 w 138893"/>
                <a:gd name="connsiteY42" fmla="*/ 12044 h 141678"/>
                <a:gd name="connsiteX43" fmla="*/ 72155 w 138893"/>
                <a:gd name="connsiteY43" fmla="*/ 9457 h 141678"/>
                <a:gd name="connsiteX44" fmla="*/ 72140 w 138893"/>
                <a:gd name="connsiteY44" fmla="*/ 9460 h 141678"/>
                <a:gd name="connsiteX45" fmla="*/ 69775 w 138893"/>
                <a:gd name="connsiteY45" fmla="*/ 13766 h 141678"/>
                <a:gd name="connsiteX46" fmla="*/ 76930 w 138893"/>
                <a:gd name="connsiteY46" fmla="*/ 43497 h 141678"/>
                <a:gd name="connsiteX47" fmla="*/ 73898 w 138893"/>
                <a:gd name="connsiteY47" fmla="*/ 48481 h 141678"/>
                <a:gd name="connsiteX48" fmla="*/ 69304 w 138893"/>
                <a:gd name="connsiteY48" fmla="*/ 46455 h 141678"/>
                <a:gd name="connsiteX49" fmla="*/ 49211 w 138893"/>
                <a:gd name="connsiteY49" fmla="*/ 10051 h 141678"/>
                <a:gd name="connsiteX50" fmla="*/ 47297 w 138893"/>
                <a:gd name="connsiteY50" fmla="*/ 8379 h 141678"/>
                <a:gd name="connsiteX51" fmla="*/ 44433 w 138893"/>
                <a:gd name="connsiteY51" fmla="*/ 8715 h 141678"/>
                <a:gd name="connsiteX52" fmla="*/ 42911 w 138893"/>
                <a:gd name="connsiteY52" fmla="*/ 10551 h 141678"/>
                <a:gd name="connsiteX53" fmla="*/ 43249 w 138893"/>
                <a:gd name="connsiteY53" fmla="*/ 13417 h 141678"/>
                <a:gd name="connsiteX54" fmla="*/ 60615 w 138893"/>
                <a:gd name="connsiteY54" fmla="*/ 45135 h 141678"/>
                <a:gd name="connsiteX55" fmla="*/ 58972 w 138893"/>
                <a:gd name="connsiteY55" fmla="*/ 50732 h 141678"/>
                <a:gd name="connsiteX56" fmla="*/ 53981 w 138893"/>
                <a:gd name="connsiteY56" fmla="*/ 49928 h 141678"/>
                <a:gd name="connsiteX57" fmla="*/ 28199 w 138893"/>
                <a:gd name="connsiteY57" fmla="*/ 22246 h 141678"/>
                <a:gd name="connsiteX58" fmla="*/ 25702 w 138893"/>
                <a:gd name="connsiteY58" fmla="*/ 21091 h 141678"/>
                <a:gd name="connsiteX59" fmla="*/ 23519 w 138893"/>
                <a:gd name="connsiteY59" fmla="*/ 21974 h 141678"/>
                <a:gd name="connsiteX60" fmla="*/ 23002 w 138893"/>
                <a:gd name="connsiteY60" fmla="*/ 26596 h 141678"/>
                <a:gd name="connsiteX61" fmla="*/ 23140 w 138893"/>
                <a:gd name="connsiteY61" fmla="*/ 26759 h 141678"/>
                <a:gd name="connsiteX62" fmla="*/ 50927 w 138893"/>
                <a:gd name="connsiteY62" fmla="*/ 56833 h 141678"/>
                <a:gd name="connsiteX63" fmla="*/ 50689 w 138893"/>
                <a:gd name="connsiteY63" fmla="*/ 62662 h 141678"/>
                <a:gd name="connsiteX64" fmla="*/ 45582 w 138893"/>
                <a:gd name="connsiteY64" fmla="*/ 63045 h 141678"/>
                <a:gd name="connsiteX65" fmla="*/ 13737 w 138893"/>
                <a:gd name="connsiteY65" fmla="*/ 41430 h 141678"/>
                <a:gd name="connsiteX66" fmla="*/ 8852 w 138893"/>
                <a:gd name="connsiteY66" fmla="*/ 42258 h 141678"/>
                <a:gd name="connsiteX67" fmla="*/ 9620 w 138893"/>
                <a:gd name="connsiteY67" fmla="*/ 47099 h 141678"/>
                <a:gd name="connsiteX68" fmla="*/ 47949 w 138893"/>
                <a:gd name="connsiteY68" fmla="*/ 73290 h 141678"/>
                <a:gd name="connsiteX69" fmla="*/ 48815 w 138893"/>
                <a:gd name="connsiteY69" fmla="*/ 74084 h 141678"/>
                <a:gd name="connsiteX70" fmla="*/ 57585 w 138893"/>
                <a:gd name="connsiteY70" fmla="*/ 87612 h 141678"/>
                <a:gd name="connsiteX71" fmla="*/ 55940 w 138893"/>
                <a:gd name="connsiteY71" fmla="*/ 93209 h 141678"/>
                <a:gd name="connsiteX72" fmla="*/ 53963 w 138893"/>
                <a:gd name="connsiteY72" fmla="*/ 93713 h 141678"/>
                <a:gd name="connsiteX73" fmla="*/ 52646 w 138893"/>
                <a:gd name="connsiteY73" fmla="*/ 93605 h 141678"/>
                <a:gd name="connsiteX74" fmla="*/ 21809 w 138893"/>
                <a:gd name="connsiteY74" fmla="*/ 95869 h 141678"/>
                <a:gd name="connsiteX75" fmla="*/ 20251 w 138893"/>
                <a:gd name="connsiteY75" fmla="*/ 97719 h 141678"/>
                <a:gd name="connsiteX76" fmla="*/ 20416 w 138893"/>
                <a:gd name="connsiteY76" fmla="*/ 99717 h 141678"/>
                <a:gd name="connsiteX77" fmla="*/ 22285 w 138893"/>
                <a:gd name="connsiteY77" fmla="*/ 101317 h 141678"/>
                <a:gd name="connsiteX78" fmla="*/ 24287 w 138893"/>
                <a:gd name="connsiteY78" fmla="*/ 101152 h 141678"/>
                <a:gd name="connsiteX79" fmla="*/ 48558 w 138893"/>
                <a:gd name="connsiteY79" fmla="*/ 102662 h 141678"/>
                <a:gd name="connsiteX80" fmla="*/ 83346 w 138893"/>
                <a:gd name="connsiteY80" fmla="*/ 105293 h 141678"/>
                <a:gd name="connsiteX81" fmla="*/ 87326 w 138893"/>
                <a:gd name="connsiteY81" fmla="*/ 106510 h 141678"/>
                <a:gd name="connsiteX82" fmla="*/ 114622 w 138893"/>
                <a:gd name="connsiteY82" fmla="*/ 136087 h 1416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</a:cxnLst>
              <a:rect l="l" t="t" r="r" b="b"/>
              <a:pathLst>
                <a:path w="138893" h="141678">
                  <a:moveTo>
                    <a:pt x="108556" y="141679"/>
                  </a:moveTo>
                  <a:lnTo>
                    <a:pt x="82846" y="113819"/>
                  </a:lnTo>
                  <a:cubicBezTo>
                    <a:pt x="69673" y="116247"/>
                    <a:pt x="56916" y="113159"/>
                    <a:pt x="46551" y="110659"/>
                  </a:cubicBezTo>
                  <a:cubicBezTo>
                    <a:pt x="41564" y="109360"/>
                    <a:pt x="31330" y="106695"/>
                    <a:pt x="28266" y="108374"/>
                  </a:cubicBezTo>
                  <a:cubicBezTo>
                    <a:pt x="25639" y="109834"/>
                    <a:pt x="22517" y="110112"/>
                    <a:pt x="19674" y="109140"/>
                  </a:cubicBezTo>
                  <a:cubicBezTo>
                    <a:pt x="16913" y="108209"/>
                    <a:pt x="14604" y="106275"/>
                    <a:pt x="13204" y="103720"/>
                  </a:cubicBezTo>
                  <a:cubicBezTo>
                    <a:pt x="11731" y="101090"/>
                    <a:pt x="11446" y="97958"/>
                    <a:pt x="12421" y="95105"/>
                  </a:cubicBezTo>
                  <a:cubicBezTo>
                    <a:pt x="13351" y="92345"/>
                    <a:pt x="15285" y="90035"/>
                    <a:pt x="17839" y="88634"/>
                  </a:cubicBezTo>
                  <a:cubicBezTo>
                    <a:pt x="26565" y="84482"/>
                    <a:pt x="36300" y="82925"/>
                    <a:pt x="45886" y="84147"/>
                  </a:cubicBezTo>
                  <a:cubicBezTo>
                    <a:pt x="45909" y="84148"/>
                    <a:pt x="45928" y="84129"/>
                    <a:pt x="45928" y="84107"/>
                  </a:cubicBezTo>
                  <a:cubicBezTo>
                    <a:pt x="45928" y="84100"/>
                    <a:pt x="45926" y="84093"/>
                    <a:pt x="45923" y="84087"/>
                  </a:cubicBezTo>
                  <a:cubicBezTo>
                    <a:pt x="44957" y="82620"/>
                    <a:pt x="43916" y="81160"/>
                    <a:pt x="42794" y="79755"/>
                  </a:cubicBezTo>
                  <a:lnTo>
                    <a:pt x="5004" y="53933"/>
                  </a:lnTo>
                  <a:cubicBezTo>
                    <a:pt x="-240" y="50201"/>
                    <a:pt x="-1569" y="42977"/>
                    <a:pt x="2003" y="37623"/>
                  </a:cubicBezTo>
                  <a:cubicBezTo>
                    <a:pt x="5492" y="32395"/>
                    <a:pt x="10913" y="29610"/>
                    <a:pt x="16280" y="33191"/>
                  </a:cubicBezTo>
                  <a:lnTo>
                    <a:pt x="20206" y="35846"/>
                  </a:lnTo>
                  <a:cubicBezTo>
                    <a:pt x="20362" y="35952"/>
                    <a:pt x="20385" y="35925"/>
                    <a:pt x="20257" y="35787"/>
                  </a:cubicBezTo>
                  <a:lnTo>
                    <a:pt x="17194" y="32470"/>
                  </a:lnTo>
                  <a:cubicBezTo>
                    <a:pt x="12814" y="27985"/>
                    <a:pt x="12900" y="20799"/>
                    <a:pt x="17385" y="16420"/>
                  </a:cubicBezTo>
                  <a:cubicBezTo>
                    <a:pt x="17483" y="16324"/>
                    <a:pt x="17583" y="16229"/>
                    <a:pt x="17685" y="16137"/>
                  </a:cubicBezTo>
                  <a:cubicBezTo>
                    <a:pt x="19890" y="13875"/>
                    <a:pt x="22963" y="12676"/>
                    <a:pt x="26117" y="12848"/>
                  </a:cubicBezTo>
                  <a:cubicBezTo>
                    <a:pt x="29152" y="13032"/>
                    <a:pt x="32009" y="14340"/>
                    <a:pt x="34133" y="16516"/>
                  </a:cubicBezTo>
                  <a:lnTo>
                    <a:pt x="37338" y="19956"/>
                  </a:lnTo>
                  <a:cubicBezTo>
                    <a:pt x="37456" y="20083"/>
                    <a:pt x="37485" y="20062"/>
                    <a:pt x="37402" y="19909"/>
                  </a:cubicBezTo>
                  <a:lnTo>
                    <a:pt x="35942" y="17242"/>
                  </a:lnTo>
                  <a:cubicBezTo>
                    <a:pt x="34504" y="14494"/>
                    <a:pt x="34157" y="11305"/>
                    <a:pt x="34971" y="8312"/>
                  </a:cubicBezTo>
                  <a:cubicBezTo>
                    <a:pt x="35814" y="5269"/>
                    <a:pt x="37914" y="2730"/>
                    <a:pt x="40746" y="1333"/>
                  </a:cubicBezTo>
                  <a:cubicBezTo>
                    <a:pt x="43464" y="-51"/>
                    <a:pt x="46602" y="-371"/>
                    <a:pt x="49543" y="437"/>
                  </a:cubicBezTo>
                  <a:cubicBezTo>
                    <a:pt x="52584" y="1280"/>
                    <a:pt x="55121" y="3381"/>
                    <a:pt x="56515" y="6212"/>
                  </a:cubicBezTo>
                  <a:lnTo>
                    <a:pt x="61643" y="15501"/>
                  </a:lnTo>
                  <a:cubicBezTo>
                    <a:pt x="61711" y="15625"/>
                    <a:pt x="61744" y="15613"/>
                    <a:pt x="61717" y="15475"/>
                  </a:cubicBezTo>
                  <a:cubicBezTo>
                    <a:pt x="61717" y="15475"/>
                    <a:pt x="61685" y="15348"/>
                    <a:pt x="61676" y="15288"/>
                  </a:cubicBezTo>
                  <a:cubicBezTo>
                    <a:pt x="60306" y="8969"/>
                    <a:pt x="64318" y="2736"/>
                    <a:pt x="70637" y="1366"/>
                  </a:cubicBezTo>
                  <a:cubicBezTo>
                    <a:pt x="76829" y="24"/>
                    <a:pt x="82965" y="3852"/>
                    <a:pt x="84483" y="10002"/>
                  </a:cubicBezTo>
                  <a:lnTo>
                    <a:pt x="91855" y="40973"/>
                  </a:lnTo>
                  <a:cubicBezTo>
                    <a:pt x="101047" y="51332"/>
                    <a:pt x="114591" y="69458"/>
                    <a:pt x="111634" y="83564"/>
                  </a:cubicBezTo>
                  <a:lnTo>
                    <a:pt x="138893" y="113344"/>
                  </a:lnTo>
                  <a:lnTo>
                    <a:pt x="132811" y="118915"/>
                  </a:lnTo>
                  <a:lnTo>
                    <a:pt x="103996" y="87441"/>
                  </a:lnTo>
                  <a:cubicBezTo>
                    <a:pt x="102949" y="86300"/>
                    <a:pt x="102631" y="84669"/>
                    <a:pt x="103171" y="83219"/>
                  </a:cubicBezTo>
                  <a:cubicBezTo>
                    <a:pt x="106535" y="74170"/>
                    <a:pt x="95997" y="57905"/>
                    <a:pt x="85021" y="45702"/>
                  </a:cubicBezTo>
                  <a:cubicBezTo>
                    <a:pt x="84557" y="45191"/>
                    <a:pt x="84231" y="44570"/>
                    <a:pt x="84072" y="43898"/>
                  </a:cubicBezTo>
                  <a:lnTo>
                    <a:pt x="76491" y="12044"/>
                  </a:lnTo>
                  <a:cubicBezTo>
                    <a:pt x="76008" y="10132"/>
                    <a:pt x="74067" y="8974"/>
                    <a:pt x="72155" y="9457"/>
                  </a:cubicBezTo>
                  <a:cubicBezTo>
                    <a:pt x="72150" y="9458"/>
                    <a:pt x="72145" y="9459"/>
                    <a:pt x="72140" y="9460"/>
                  </a:cubicBezTo>
                  <a:cubicBezTo>
                    <a:pt x="70318" y="10021"/>
                    <a:pt x="69271" y="11927"/>
                    <a:pt x="69775" y="13766"/>
                  </a:cubicBezTo>
                  <a:lnTo>
                    <a:pt x="76930" y="43497"/>
                  </a:lnTo>
                  <a:cubicBezTo>
                    <a:pt x="77469" y="45711"/>
                    <a:pt x="76111" y="47942"/>
                    <a:pt x="73898" y="48481"/>
                  </a:cubicBezTo>
                  <a:cubicBezTo>
                    <a:pt x="72085" y="48923"/>
                    <a:pt x="70201" y="48092"/>
                    <a:pt x="69304" y="46455"/>
                  </a:cubicBezTo>
                  <a:lnTo>
                    <a:pt x="49211" y="10051"/>
                  </a:lnTo>
                  <a:cubicBezTo>
                    <a:pt x="48857" y="9234"/>
                    <a:pt x="48155" y="8620"/>
                    <a:pt x="47297" y="8379"/>
                  </a:cubicBezTo>
                  <a:cubicBezTo>
                    <a:pt x="46334" y="8132"/>
                    <a:pt x="45313" y="8252"/>
                    <a:pt x="44433" y="8715"/>
                  </a:cubicBezTo>
                  <a:cubicBezTo>
                    <a:pt x="43681" y="9073"/>
                    <a:pt x="43124" y="9745"/>
                    <a:pt x="42911" y="10551"/>
                  </a:cubicBezTo>
                  <a:cubicBezTo>
                    <a:pt x="42664" y="11515"/>
                    <a:pt x="42784" y="12537"/>
                    <a:pt x="43249" y="13417"/>
                  </a:cubicBezTo>
                  <a:lnTo>
                    <a:pt x="60615" y="45135"/>
                  </a:lnTo>
                  <a:cubicBezTo>
                    <a:pt x="61707" y="47134"/>
                    <a:pt x="60971" y="49641"/>
                    <a:pt x="58972" y="50732"/>
                  </a:cubicBezTo>
                  <a:cubicBezTo>
                    <a:pt x="57319" y="51634"/>
                    <a:pt x="55266" y="51303"/>
                    <a:pt x="53981" y="49928"/>
                  </a:cubicBezTo>
                  <a:lnTo>
                    <a:pt x="28199" y="22246"/>
                  </a:lnTo>
                  <a:cubicBezTo>
                    <a:pt x="27533" y="21574"/>
                    <a:pt x="26646" y="21164"/>
                    <a:pt x="25702" y="21091"/>
                  </a:cubicBezTo>
                  <a:cubicBezTo>
                    <a:pt x="24882" y="21060"/>
                    <a:pt x="24087" y="21382"/>
                    <a:pt x="23519" y="21974"/>
                  </a:cubicBezTo>
                  <a:cubicBezTo>
                    <a:pt x="22099" y="23108"/>
                    <a:pt x="21868" y="25177"/>
                    <a:pt x="23002" y="26596"/>
                  </a:cubicBezTo>
                  <a:cubicBezTo>
                    <a:pt x="23046" y="26652"/>
                    <a:pt x="23092" y="26706"/>
                    <a:pt x="23140" y="26759"/>
                  </a:cubicBezTo>
                  <a:lnTo>
                    <a:pt x="50927" y="56833"/>
                  </a:lnTo>
                  <a:cubicBezTo>
                    <a:pt x="52471" y="58508"/>
                    <a:pt x="52365" y="61118"/>
                    <a:pt x="50689" y="62662"/>
                  </a:cubicBezTo>
                  <a:cubicBezTo>
                    <a:pt x="49282" y="63959"/>
                    <a:pt x="47167" y="64117"/>
                    <a:pt x="45582" y="63045"/>
                  </a:cubicBezTo>
                  <a:lnTo>
                    <a:pt x="13737" y="41430"/>
                  </a:lnTo>
                  <a:cubicBezTo>
                    <a:pt x="12159" y="40310"/>
                    <a:pt x="9972" y="40681"/>
                    <a:pt x="8852" y="42258"/>
                  </a:cubicBezTo>
                  <a:cubicBezTo>
                    <a:pt x="7749" y="43812"/>
                    <a:pt x="8090" y="45962"/>
                    <a:pt x="9620" y="47099"/>
                  </a:cubicBezTo>
                  <a:lnTo>
                    <a:pt x="47949" y="73290"/>
                  </a:lnTo>
                  <a:cubicBezTo>
                    <a:pt x="48274" y="73513"/>
                    <a:pt x="48565" y="73780"/>
                    <a:pt x="48815" y="74084"/>
                  </a:cubicBezTo>
                  <a:cubicBezTo>
                    <a:pt x="52150" y="78313"/>
                    <a:pt x="55086" y="82842"/>
                    <a:pt x="57585" y="87612"/>
                  </a:cubicBezTo>
                  <a:cubicBezTo>
                    <a:pt x="58676" y="89612"/>
                    <a:pt x="57940" y="92118"/>
                    <a:pt x="55940" y="93209"/>
                  </a:cubicBezTo>
                  <a:cubicBezTo>
                    <a:pt x="55334" y="93540"/>
                    <a:pt x="54654" y="93713"/>
                    <a:pt x="53963" y="93713"/>
                  </a:cubicBezTo>
                  <a:cubicBezTo>
                    <a:pt x="53522" y="93713"/>
                    <a:pt x="53082" y="93677"/>
                    <a:pt x="52646" y="93605"/>
                  </a:cubicBezTo>
                  <a:cubicBezTo>
                    <a:pt x="42411" y="90805"/>
                    <a:pt x="31525" y="91604"/>
                    <a:pt x="21809" y="95869"/>
                  </a:cubicBezTo>
                  <a:cubicBezTo>
                    <a:pt x="21081" y="96274"/>
                    <a:pt x="20526" y="96933"/>
                    <a:pt x="20251" y="97719"/>
                  </a:cubicBezTo>
                  <a:cubicBezTo>
                    <a:pt x="20016" y="98378"/>
                    <a:pt x="20077" y="99106"/>
                    <a:pt x="20416" y="99717"/>
                  </a:cubicBezTo>
                  <a:cubicBezTo>
                    <a:pt x="20819" y="100463"/>
                    <a:pt x="21486" y="101033"/>
                    <a:pt x="22285" y="101317"/>
                  </a:cubicBezTo>
                  <a:cubicBezTo>
                    <a:pt x="22945" y="101551"/>
                    <a:pt x="23674" y="101490"/>
                    <a:pt x="24287" y="101152"/>
                  </a:cubicBezTo>
                  <a:cubicBezTo>
                    <a:pt x="29814" y="98135"/>
                    <a:pt x="38547" y="100051"/>
                    <a:pt x="48558" y="102662"/>
                  </a:cubicBezTo>
                  <a:cubicBezTo>
                    <a:pt x="58632" y="105092"/>
                    <a:pt x="71257" y="108135"/>
                    <a:pt x="83346" y="105293"/>
                  </a:cubicBezTo>
                  <a:cubicBezTo>
                    <a:pt x="84795" y="104953"/>
                    <a:pt x="86315" y="105418"/>
                    <a:pt x="87326" y="106510"/>
                  </a:cubicBezTo>
                  <a:lnTo>
                    <a:pt x="114622" y="136087"/>
                  </a:lnTo>
                  <a:close/>
                </a:path>
              </a:pathLst>
            </a:custGeom>
            <a:solidFill>
              <a:schemeClr val="tx1"/>
            </a:solidFill>
            <a:ln w="1905" cap="flat">
              <a:solidFill>
                <a:schemeClr val="tx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srgbClr val="404955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166" name="Freihandform: Form 292">
              <a:extLst>
                <a:ext uri="{FF2B5EF4-FFF2-40B4-BE49-F238E27FC236}">
                  <a16:creationId xmlns:a16="http://schemas.microsoft.com/office/drawing/2014/main" id="{5471DAC7-AFAC-AE20-CB4B-0F955AB41DA6}"/>
                </a:ext>
              </a:extLst>
            </p:cNvPr>
            <p:cNvSpPr/>
            <p:nvPr/>
          </p:nvSpPr>
          <p:spPr>
            <a:xfrm>
              <a:off x="924082" y="1583780"/>
              <a:ext cx="148732" cy="165387"/>
            </a:xfrm>
            <a:custGeom>
              <a:avLst/>
              <a:gdLst>
                <a:gd name="connsiteX0" fmla="*/ 48930 w 135817"/>
                <a:gd name="connsiteY0" fmla="*/ 146379 h 146397"/>
                <a:gd name="connsiteX1" fmla="*/ 43456 w 135817"/>
                <a:gd name="connsiteY1" fmla="*/ 145073 h 146397"/>
                <a:gd name="connsiteX2" fmla="*/ 37897 w 135817"/>
                <a:gd name="connsiteY2" fmla="*/ 138206 h 146397"/>
                <a:gd name="connsiteX3" fmla="*/ 38795 w 135817"/>
                <a:gd name="connsiteY3" fmla="*/ 129411 h 146397"/>
                <a:gd name="connsiteX4" fmla="*/ 40052 w 135817"/>
                <a:gd name="connsiteY4" fmla="*/ 127045 h 146397"/>
                <a:gd name="connsiteX5" fmla="*/ 39987 w 135817"/>
                <a:gd name="connsiteY5" fmla="*/ 127000 h 146397"/>
                <a:gd name="connsiteX6" fmla="*/ 36866 w 135817"/>
                <a:gd name="connsiteY6" fmla="*/ 130563 h 146397"/>
                <a:gd name="connsiteX7" fmla="*/ 28076 w 135817"/>
                <a:gd name="connsiteY7" fmla="*/ 134623 h 146397"/>
                <a:gd name="connsiteX8" fmla="*/ 20672 w 135817"/>
                <a:gd name="connsiteY8" fmla="*/ 131901 h 146397"/>
                <a:gd name="connsiteX9" fmla="*/ 16523 w 135817"/>
                <a:gd name="connsiteY9" fmla="*/ 123736 h 146397"/>
                <a:gd name="connsiteX10" fmla="*/ 19287 w 135817"/>
                <a:gd name="connsiteY10" fmla="*/ 115268 h 146397"/>
                <a:gd name="connsiteX11" fmla="*/ 21832 w 135817"/>
                <a:gd name="connsiteY11" fmla="*/ 112378 h 146397"/>
                <a:gd name="connsiteX12" fmla="*/ 21779 w 135817"/>
                <a:gd name="connsiteY12" fmla="*/ 112319 h 146397"/>
                <a:gd name="connsiteX13" fmla="*/ 20447 w 135817"/>
                <a:gd name="connsiteY13" fmla="*/ 113234 h 146397"/>
                <a:gd name="connsiteX14" fmla="*/ 13671 w 135817"/>
                <a:gd name="connsiteY14" fmla="*/ 115663 h 146397"/>
                <a:gd name="connsiteX15" fmla="*/ 4172 w 135817"/>
                <a:gd name="connsiteY15" fmla="*/ 110412 h 146397"/>
                <a:gd name="connsiteX16" fmla="*/ 7213 w 135817"/>
                <a:gd name="connsiteY16" fmla="*/ 94077 h 146397"/>
                <a:gd name="connsiteX17" fmla="*/ 15393 w 135817"/>
                <a:gd name="connsiteY17" fmla="*/ 88441 h 146397"/>
                <a:gd name="connsiteX18" fmla="*/ 15357 w 135817"/>
                <a:gd name="connsiteY18" fmla="*/ 88372 h 146397"/>
                <a:gd name="connsiteX19" fmla="*/ 12156 w 135817"/>
                <a:gd name="connsiteY19" fmla="*/ 88741 h 146397"/>
                <a:gd name="connsiteX20" fmla="*/ 740 w 135817"/>
                <a:gd name="connsiteY20" fmla="*/ 80461 h 146397"/>
                <a:gd name="connsiteX21" fmla="*/ 7592 w 135817"/>
                <a:gd name="connsiteY21" fmla="*/ 65240 h 146397"/>
                <a:gd name="connsiteX22" fmla="*/ 37901 w 135817"/>
                <a:gd name="connsiteY22" fmla="*/ 54515 h 146397"/>
                <a:gd name="connsiteX23" fmla="*/ 78043 w 135817"/>
                <a:gd name="connsiteY23" fmla="*/ 30492 h 146397"/>
                <a:gd name="connsiteX24" fmla="*/ 104582 w 135817"/>
                <a:gd name="connsiteY24" fmla="*/ 0 h 146397"/>
                <a:gd name="connsiteX25" fmla="*/ 110801 w 135817"/>
                <a:gd name="connsiteY25" fmla="*/ 5416 h 146397"/>
                <a:gd name="connsiteX26" fmla="*/ 82748 w 135817"/>
                <a:gd name="connsiteY26" fmla="*/ 37647 h 146397"/>
                <a:gd name="connsiteX27" fmla="*/ 78639 w 135817"/>
                <a:gd name="connsiteY27" fmla="*/ 38941 h 146397"/>
                <a:gd name="connsiteX28" fmla="*/ 43202 w 135817"/>
                <a:gd name="connsiteY28" fmla="*/ 60908 h 146397"/>
                <a:gd name="connsiteX29" fmla="*/ 41583 w 135817"/>
                <a:gd name="connsiteY29" fmla="*/ 61960 h 146397"/>
                <a:gd name="connsiteX30" fmla="*/ 10496 w 135817"/>
                <a:gd name="connsiteY30" fmla="*/ 72957 h 146397"/>
                <a:gd name="connsiteX31" fmla="*/ 8450 w 135817"/>
                <a:gd name="connsiteY31" fmla="*/ 77519 h 146397"/>
                <a:gd name="connsiteX32" fmla="*/ 12156 w 135817"/>
                <a:gd name="connsiteY32" fmla="*/ 80489 h 146397"/>
                <a:gd name="connsiteX33" fmla="*/ 13502 w 135817"/>
                <a:gd name="connsiteY33" fmla="*/ 80322 h 146397"/>
                <a:gd name="connsiteX34" fmla="*/ 42240 w 135817"/>
                <a:gd name="connsiteY34" fmla="*/ 70111 h 146397"/>
                <a:gd name="connsiteX35" fmla="*/ 47509 w 135817"/>
                <a:gd name="connsiteY35" fmla="*/ 72613 h 146397"/>
                <a:gd name="connsiteX36" fmla="*/ 45962 w 135817"/>
                <a:gd name="connsiteY36" fmla="*/ 77395 h 146397"/>
                <a:gd name="connsiteX37" fmla="*/ 11842 w 135817"/>
                <a:gd name="connsiteY37" fmla="*/ 100904 h 146397"/>
                <a:gd name="connsiteX38" fmla="*/ 11036 w 135817"/>
                <a:gd name="connsiteY38" fmla="*/ 105839 h 146397"/>
                <a:gd name="connsiteX39" fmla="*/ 13671 w 135817"/>
                <a:gd name="connsiteY39" fmla="*/ 107413 h 146397"/>
                <a:gd name="connsiteX40" fmla="*/ 14919 w 135817"/>
                <a:gd name="connsiteY40" fmla="*/ 107107 h 146397"/>
                <a:gd name="connsiteX41" fmla="*/ 15492 w 135817"/>
                <a:gd name="connsiteY41" fmla="*/ 106630 h 146397"/>
                <a:gd name="connsiteX42" fmla="*/ 45063 w 135817"/>
                <a:gd name="connsiteY42" fmla="*/ 86154 h 146397"/>
                <a:gd name="connsiteX43" fmla="*/ 50802 w 135817"/>
                <a:gd name="connsiteY43" fmla="*/ 87202 h 146397"/>
                <a:gd name="connsiteX44" fmla="*/ 50508 w 135817"/>
                <a:gd name="connsiteY44" fmla="*/ 92268 h 146397"/>
                <a:gd name="connsiteX45" fmla="*/ 25488 w 135817"/>
                <a:gd name="connsiteY45" fmla="*/ 120709 h 146397"/>
                <a:gd name="connsiteX46" fmla="*/ 24751 w 135817"/>
                <a:gd name="connsiteY46" fmla="*/ 123135 h 146397"/>
                <a:gd name="connsiteX47" fmla="*/ 25865 w 135817"/>
                <a:gd name="connsiteY47" fmla="*/ 125498 h 146397"/>
                <a:gd name="connsiteX48" fmla="*/ 28077 w 135817"/>
                <a:gd name="connsiteY48" fmla="*/ 126373 h 146397"/>
                <a:gd name="connsiteX49" fmla="*/ 30542 w 135817"/>
                <a:gd name="connsiteY49" fmla="*/ 125270 h 146397"/>
                <a:gd name="connsiteX50" fmla="*/ 57580 w 135817"/>
                <a:gd name="connsiteY50" fmla="*/ 94410 h 146397"/>
                <a:gd name="connsiteX51" fmla="*/ 63400 w 135817"/>
                <a:gd name="connsiteY51" fmla="*/ 94014 h 146397"/>
                <a:gd name="connsiteX52" fmla="*/ 64324 w 135817"/>
                <a:gd name="connsiteY52" fmla="*/ 99071 h 146397"/>
                <a:gd name="connsiteX53" fmla="*/ 46127 w 135817"/>
                <a:gd name="connsiteY53" fmla="*/ 133199 h 146397"/>
                <a:gd name="connsiteX54" fmla="*/ 45839 w 135817"/>
                <a:gd name="connsiteY54" fmla="*/ 135969 h 146397"/>
                <a:gd name="connsiteX55" fmla="*/ 47365 w 135817"/>
                <a:gd name="connsiteY55" fmla="*/ 137806 h 146397"/>
                <a:gd name="connsiteX56" fmla="*/ 47812 w 135817"/>
                <a:gd name="connsiteY56" fmla="*/ 138067 h 146397"/>
                <a:gd name="connsiteX57" fmla="*/ 48932 w 135817"/>
                <a:gd name="connsiteY57" fmla="*/ 138131 h 146397"/>
                <a:gd name="connsiteX58" fmla="*/ 52175 w 135817"/>
                <a:gd name="connsiteY58" fmla="*/ 136035 h 146397"/>
                <a:gd name="connsiteX59" fmla="*/ 74109 w 135817"/>
                <a:gd name="connsiteY59" fmla="*/ 95179 h 146397"/>
                <a:gd name="connsiteX60" fmla="*/ 74826 w 135817"/>
                <a:gd name="connsiteY60" fmla="*/ 94214 h 146397"/>
                <a:gd name="connsiteX61" fmla="*/ 87660 w 135817"/>
                <a:gd name="connsiteY61" fmla="*/ 84169 h 146397"/>
                <a:gd name="connsiteX62" fmla="*/ 93355 w 135817"/>
                <a:gd name="connsiteY62" fmla="*/ 85433 h 146397"/>
                <a:gd name="connsiteX63" fmla="*/ 94001 w 135817"/>
                <a:gd name="connsiteY63" fmla="*/ 87650 h 146397"/>
                <a:gd name="connsiteX64" fmla="*/ 93969 w 135817"/>
                <a:gd name="connsiteY64" fmla="*/ 88557 h 146397"/>
                <a:gd name="connsiteX65" fmla="*/ 99345 w 135817"/>
                <a:gd name="connsiteY65" fmla="*/ 119075 h 146397"/>
                <a:gd name="connsiteX66" fmla="*/ 103468 w 135817"/>
                <a:gd name="connsiteY66" fmla="*/ 119910 h 146397"/>
                <a:gd name="connsiteX67" fmla="*/ 104303 w 135817"/>
                <a:gd name="connsiteY67" fmla="*/ 115787 h 146397"/>
                <a:gd name="connsiteX68" fmla="*/ 104259 w 135817"/>
                <a:gd name="connsiteY68" fmla="*/ 115723 h 146397"/>
                <a:gd name="connsiteX69" fmla="*/ 103128 w 135817"/>
                <a:gd name="connsiteY69" fmla="*/ 92046 h 146397"/>
                <a:gd name="connsiteX70" fmla="*/ 103220 w 135817"/>
                <a:gd name="connsiteY70" fmla="*/ 91308 h 146397"/>
                <a:gd name="connsiteX71" fmla="*/ 102261 w 135817"/>
                <a:gd name="connsiteY71" fmla="*/ 56343 h 146397"/>
                <a:gd name="connsiteX72" fmla="*/ 103067 w 135817"/>
                <a:gd name="connsiteY72" fmla="*/ 52322 h 146397"/>
                <a:gd name="connsiteX73" fmla="*/ 129606 w 135817"/>
                <a:gd name="connsiteY73" fmla="*/ 21986 h 146397"/>
                <a:gd name="connsiteX74" fmla="*/ 135817 w 135817"/>
                <a:gd name="connsiteY74" fmla="*/ 27417 h 146397"/>
                <a:gd name="connsiteX75" fmla="*/ 110793 w 135817"/>
                <a:gd name="connsiteY75" fmla="*/ 56021 h 146397"/>
                <a:gd name="connsiteX76" fmla="*/ 111398 w 135817"/>
                <a:gd name="connsiteY76" fmla="*/ 92382 h 146397"/>
                <a:gd name="connsiteX77" fmla="*/ 111315 w 135817"/>
                <a:gd name="connsiteY77" fmla="*/ 93072 h 146397"/>
                <a:gd name="connsiteX78" fmla="*/ 111174 w 135817"/>
                <a:gd name="connsiteY78" fmla="*/ 111222 h 146397"/>
                <a:gd name="connsiteX79" fmla="*/ 108028 w 135817"/>
                <a:gd name="connsiteY79" fmla="*/ 126779 h 146397"/>
                <a:gd name="connsiteX80" fmla="*/ 92507 w 135817"/>
                <a:gd name="connsiteY80" fmla="*/ 123688 h 146397"/>
                <a:gd name="connsiteX81" fmla="*/ 85240 w 135817"/>
                <a:gd name="connsiteY81" fmla="*/ 96051 h 146397"/>
                <a:gd name="connsiteX82" fmla="*/ 85195 w 135817"/>
                <a:gd name="connsiteY82" fmla="*/ 96013 h 146397"/>
                <a:gd name="connsiteX83" fmla="*/ 85175 w 135817"/>
                <a:gd name="connsiteY83" fmla="*/ 96020 h 146397"/>
                <a:gd name="connsiteX84" fmla="*/ 81083 w 135817"/>
                <a:gd name="connsiteY84" fmla="*/ 99627 h 146397"/>
                <a:gd name="connsiteX85" fmla="*/ 59388 w 135817"/>
                <a:gd name="connsiteY85" fmla="*/ 140033 h 146397"/>
                <a:gd name="connsiteX86" fmla="*/ 48930 w 135817"/>
                <a:gd name="connsiteY86" fmla="*/ 146379 h 1463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</a:cxnLst>
              <a:rect l="l" t="t" r="r" b="b"/>
              <a:pathLst>
                <a:path w="135817" h="146397">
                  <a:moveTo>
                    <a:pt x="48930" y="146379"/>
                  </a:moveTo>
                  <a:cubicBezTo>
                    <a:pt x="47016" y="146497"/>
                    <a:pt x="45110" y="146043"/>
                    <a:pt x="43456" y="145073"/>
                  </a:cubicBezTo>
                  <a:cubicBezTo>
                    <a:pt x="40729" y="143656"/>
                    <a:pt x="38715" y="141168"/>
                    <a:pt x="37897" y="138206"/>
                  </a:cubicBezTo>
                  <a:cubicBezTo>
                    <a:pt x="37088" y="135265"/>
                    <a:pt x="37409" y="132128"/>
                    <a:pt x="38795" y="129411"/>
                  </a:cubicBezTo>
                  <a:lnTo>
                    <a:pt x="40052" y="127045"/>
                  </a:lnTo>
                  <a:cubicBezTo>
                    <a:pt x="40147" y="126870"/>
                    <a:pt x="40118" y="126850"/>
                    <a:pt x="39987" y="127000"/>
                  </a:cubicBezTo>
                  <a:lnTo>
                    <a:pt x="36866" y="130563"/>
                  </a:lnTo>
                  <a:cubicBezTo>
                    <a:pt x="34744" y="133232"/>
                    <a:pt x="31484" y="134738"/>
                    <a:pt x="28076" y="134623"/>
                  </a:cubicBezTo>
                  <a:cubicBezTo>
                    <a:pt x="25374" y="134565"/>
                    <a:pt x="22768" y="133607"/>
                    <a:pt x="20672" y="131901"/>
                  </a:cubicBezTo>
                  <a:cubicBezTo>
                    <a:pt x="18256" y="129841"/>
                    <a:pt x="16762" y="126902"/>
                    <a:pt x="16523" y="123736"/>
                  </a:cubicBezTo>
                  <a:cubicBezTo>
                    <a:pt x="16285" y="120658"/>
                    <a:pt x="17279" y="117612"/>
                    <a:pt x="19287" y="115268"/>
                  </a:cubicBezTo>
                  <a:lnTo>
                    <a:pt x="21832" y="112378"/>
                  </a:lnTo>
                  <a:cubicBezTo>
                    <a:pt x="21959" y="112234"/>
                    <a:pt x="21935" y="112208"/>
                    <a:pt x="21779" y="112319"/>
                  </a:cubicBezTo>
                  <a:lnTo>
                    <a:pt x="20447" y="113234"/>
                  </a:lnTo>
                  <a:cubicBezTo>
                    <a:pt x="18580" y="114877"/>
                    <a:pt x="16156" y="115746"/>
                    <a:pt x="13671" y="115663"/>
                  </a:cubicBezTo>
                  <a:cubicBezTo>
                    <a:pt x="9818" y="115640"/>
                    <a:pt x="6241" y="113662"/>
                    <a:pt x="4172" y="110412"/>
                  </a:cubicBezTo>
                  <a:cubicBezTo>
                    <a:pt x="596" y="105042"/>
                    <a:pt x="1944" y="97801"/>
                    <a:pt x="7213" y="94077"/>
                  </a:cubicBezTo>
                  <a:lnTo>
                    <a:pt x="15393" y="88441"/>
                  </a:lnTo>
                  <a:cubicBezTo>
                    <a:pt x="15496" y="88370"/>
                    <a:pt x="15479" y="88340"/>
                    <a:pt x="15357" y="88372"/>
                  </a:cubicBezTo>
                  <a:cubicBezTo>
                    <a:pt x="14313" y="88644"/>
                    <a:pt x="13235" y="88768"/>
                    <a:pt x="12156" y="88741"/>
                  </a:cubicBezTo>
                  <a:cubicBezTo>
                    <a:pt x="6998" y="88626"/>
                    <a:pt x="2451" y="85329"/>
                    <a:pt x="740" y="80461"/>
                  </a:cubicBezTo>
                  <a:cubicBezTo>
                    <a:pt x="-1509" y="74368"/>
                    <a:pt x="1539" y="67596"/>
                    <a:pt x="7592" y="65240"/>
                  </a:cubicBezTo>
                  <a:lnTo>
                    <a:pt x="37901" y="54515"/>
                  </a:lnTo>
                  <a:cubicBezTo>
                    <a:pt x="54312" y="37352"/>
                    <a:pt x="67441" y="29457"/>
                    <a:pt x="78043" y="30492"/>
                  </a:cubicBezTo>
                  <a:lnTo>
                    <a:pt x="104582" y="0"/>
                  </a:lnTo>
                  <a:lnTo>
                    <a:pt x="110801" y="5416"/>
                  </a:lnTo>
                  <a:lnTo>
                    <a:pt x="82748" y="37647"/>
                  </a:lnTo>
                  <a:cubicBezTo>
                    <a:pt x="81729" y="38813"/>
                    <a:pt x="80143" y="39312"/>
                    <a:pt x="78639" y="38941"/>
                  </a:cubicBezTo>
                  <a:cubicBezTo>
                    <a:pt x="74228" y="37840"/>
                    <a:pt x="63748" y="39218"/>
                    <a:pt x="43202" y="60908"/>
                  </a:cubicBezTo>
                  <a:cubicBezTo>
                    <a:pt x="42753" y="61382"/>
                    <a:pt x="42198" y="61742"/>
                    <a:pt x="41583" y="61960"/>
                  </a:cubicBezTo>
                  <a:lnTo>
                    <a:pt x="10496" y="72957"/>
                  </a:lnTo>
                  <a:cubicBezTo>
                    <a:pt x="8696" y="73677"/>
                    <a:pt x="7791" y="75695"/>
                    <a:pt x="8450" y="77519"/>
                  </a:cubicBezTo>
                  <a:cubicBezTo>
                    <a:pt x="8956" y="79178"/>
                    <a:pt x="10427" y="80357"/>
                    <a:pt x="12156" y="80489"/>
                  </a:cubicBezTo>
                  <a:cubicBezTo>
                    <a:pt x="12611" y="80524"/>
                    <a:pt x="13069" y="80467"/>
                    <a:pt x="13502" y="80322"/>
                  </a:cubicBezTo>
                  <a:lnTo>
                    <a:pt x="42240" y="70111"/>
                  </a:lnTo>
                  <a:cubicBezTo>
                    <a:pt x="44386" y="69347"/>
                    <a:pt x="46745" y="70467"/>
                    <a:pt x="47509" y="72613"/>
                  </a:cubicBezTo>
                  <a:cubicBezTo>
                    <a:pt x="48137" y="74374"/>
                    <a:pt x="47502" y="76336"/>
                    <a:pt x="45962" y="77395"/>
                  </a:cubicBezTo>
                  <a:lnTo>
                    <a:pt x="11842" y="100904"/>
                  </a:lnTo>
                  <a:cubicBezTo>
                    <a:pt x="10318" y="102082"/>
                    <a:pt x="9966" y="104238"/>
                    <a:pt x="11036" y="105839"/>
                  </a:cubicBezTo>
                  <a:cubicBezTo>
                    <a:pt x="11588" y="106779"/>
                    <a:pt x="12581" y="107373"/>
                    <a:pt x="13671" y="107413"/>
                  </a:cubicBezTo>
                  <a:cubicBezTo>
                    <a:pt x="14109" y="107450"/>
                    <a:pt x="14548" y="107342"/>
                    <a:pt x="14919" y="107107"/>
                  </a:cubicBezTo>
                  <a:cubicBezTo>
                    <a:pt x="15096" y="106932"/>
                    <a:pt x="15287" y="106772"/>
                    <a:pt x="15492" y="106630"/>
                  </a:cubicBezTo>
                  <a:lnTo>
                    <a:pt x="45063" y="86154"/>
                  </a:lnTo>
                  <a:cubicBezTo>
                    <a:pt x="46938" y="84858"/>
                    <a:pt x="49507" y="85328"/>
                    <a:pt x="50802" y="87202"/>
                  </a:cubicBezTo>
                  <a:cubicBezTo>
                    <a:pt x="51877" y="88758"/>
                    <a:pt x="51756" y="90847"/>
                    <a:pt x="50508" y="92268"/>
                  </a:cubicBezTo>
                  <a:lnTo>
                    <a:pt x="25488" y="120709"/>
                  </a:lnTo>
                  <a:cubicBezTo>
                    <a:pt x="24931" y="121388"/>
                    <a:pt x="24666" y="122260"/>
                    <a:pt x="24751" y="123135"/>
                  </a:cubicBezTo>
                  <a:cubicBezTo>
                    <a:pt x="24802" y="124037"/>
                    <a:pt x="25201" y="124884"/>
                    <a:pt x="25865" y="125498"/>
                  </a:cubicBezTo>
                  <a:cubicBezTo>
                    <a:pt x="26481" y="126033"/>
                    <a:pt x="27262" y="126341"/>
                    <a:pt x="28077" y="126373"/>
                  </a:cubicBezTo>
                  <a:cubicBezTo>
                    <a:pt x="29036" y="126471"/>
                    <a:pt x="29976" y="126051"/>
                    <a:pt x="30542" y="125270"/>
                  </a:cubicBezTo>
                  <a:lnTo>
                    <a:pt x="57580" y="94410"/>
                  </a:lnTo>
                  <a:cubicBezTo>
                    <a:pt x="59078" y="92693"/>
                    <a:pt x="61684" y="92516"/>
                    <a:pt x="63400" y="94014"/>
                  </a:cubicBezTo>
                  <a:cubicBezTo>
                    <a:pt x="64850" y="95278"/>
                    <a:pt x="65232" y="97376"/>
                    <a:pt x="64324" y="99071"/>
                  </a:cubicBezTo>
                  <a:lnTo>
                    <a:pt x="46127" y="133199"/>
                  </a:lnTo>
                  <a:cubicBezTo>
                    <a:pt x="45697" y="134056"/>
                    <a:pt x="45594" y="135041"/>
                    <a:pt x="45839" y="135969"/>
                  </a:cubicBezTo>
                  <a:cubicBezTo>
                    <a:pt x="46054" y="136776"/>
                    <a:pt x="46611" y="137447"/>
                    <a:pt x="47365" y="137806"/>
                  </a:cubicBezTo>
                  <a:cubicBezTo>
                    <a:pt x="47519" y="137884"/>
                    <a:pt x="47669" y="137971"/>
                    <a:pt x="47812" y="138067"/>
                  </a:cubicBezTo>
                  <a:cubicBezTo>
                    <a:pt x="48182" y="138127"/>
                    <a:pt x="48558" y="138148"/>
                    <a:pt x="48932" y="138131"/>
                  </a:cubicBezTo>
                  <a:cubicBezTo>
                    <a:pt x="50309" y="138058"/>
                    <a:pt x="51544" y="137260"/>
                    <a:pt x="52175" y="136035"/>
                  </a:cubicBezTo>
                  <a:lnTo>
                    <a:pt x="74109" y="95179"/>
                  </a:lnTo>
                  <a:cubicBezTo>
                    <a:pt x="74299" y="94824"/>
                    <a:pt x="74540" y="94498"/>
                    <a:pt x="74826" y="94214"/>
                  </a:cubicBezTo>
                  <a:cubicBezTo>
                    <a:pt x="78717" y="90399"/>
                    <a:pt x="83022" y="87030"/>
                    <a:pt x="87660" y="84169"/>
                  </a:cubicBezTo>
                  <a:cubicBezTo>
                    <a:pt x="89582" y="82946"/>
                    <a:pt x="92132" y="83512"/>
                    <a:pt x="93355" y="85433"/>
                  </a:cubicBezTo>
                  <a:cubicBezTo>
                    <a:pt x="93777" y="86096"/>
                    <a:pt x="94001" y="86865"/>
                    <a:pt x="94001" y="87650"/>
                  </a:cubicBezTo>
                  <a:cubicBezTo>
                    <a:pt x="94001" y="87826"/>
                    <a:pt x="93989" y="88383"/>
                    <a:pt x="93969" y="88557"/>
                  </a:cubicBezTo>
                  <a:cubicBezTo>
                    <a:pt x="92263" y="99045"/>
                    <a:pt x="94158" y="109801"/>
                    <a:pt x="99345" y="119075"/>
                  </a:cubicBezTo>
                  <a:cubicBezTo>
                    <a:pt x="100253" y="120444"/>
                    <a:pt x="102099" y="120818"/>
                    <a:pt x="103468" y="119910"/>
                  </a:cubicBezTo>
                  <a:cubicBezTo>
                    <a:pt x="104837" y="119002"/>
                    <a:pt x="105211" y="117156"/>
                    <a:pt x="104303" y="115787"/>
                  </a:cubicBezTo>
                  <a:cubicBezTo>
                    <a:pt x="104289" y="115766"/>
                    <a:pt x="104274" y="115744"/>
                    <a:pt x="104259" y="115723"/>
                  </a:cubicBezTo>
                  <a:cubicBezTo>
                    <a:pt x="100832" y="110337"/>
                    <a:pt x="101895" y="101859"/>
                    <a:pt x="103128" y="92046"/>
                  </a:cubicBezTo>
                  <a:lnTo>
                    <a:pt x="103220" y="91308"/>
                  </a:lnTo>
                  <a:cubicBezTo>
                    <a:pt x="104807" y="79793"/>
                    <a:pt x="106032" y="67653"/>
                    <a:pt x="102261" y="56343"/>
                  </a:cubicBezTo>
                  <a:cubicBezTo>
                    <a:pt x="101798" y="54954"/>
                    <a:pt x="102104" y="53424"/>
                    <a:pt x="103067" y="52322"/>
                  </a:cubicBezTo>
                  <a:lnTo>
                    <a:pt x="129606" y="21986"/>
                  </a:lnTo>
                  <a:lnTo>
                    <a:pt x="135817" y="27417"/>
                  </a:lnTo>
                  <a:lnTo>
                    <a:pt x="110793" y="56021"/>
                  </a:lnTo>
                  <a:cubicBezTo>
                    <a:pt x="113532" y="67966"/>
                    <a:pt x="113737" y="80353"/>
                    <a:pt x="111398" y="92382"/>
                  </a:cubicBezTo>
                  <a:lnTo>
                    <a:pt x="111315" y="93072"/>
                  </a:lnTo>
                  <a:cubicBezTo>
                    <a:pt x="110413" y="100264"/>
                    <a:pt x="109390" y="108417"/>
                    <a:pt x="111174" y="111222"/>
                  </a:cubicBezTo>
                  <a:cubicBezTo>
                    <a:pt x="114602" y="116386"/>
                    <a:pt x="113193" y="123352"/>
                    <a:pt x="108028" y="126779"/>
                  </a:cubicBezTo>
                  <a:cubicBezTo>
                    <a:pt x="102885" y="130193"/>
                    <a:pt x="95950" y="128812"/>
                    <a:pt x="92507" y="123688"/>
                  </a:cubicBezTo>
                  <a:cubicBezTo>
                    <a:pt x="87475" y="115367"/>
                    <a:pt x="84952" y="105770"/>
                    <a:pt x="85240" y="96051"/>
                  </a:cubicBezTo>
                  <a:cubicBezTo>
                    <a:pt x="85238" y="96028"/>
                    <a:pt x="85218" y="96011"/>
                    <a:pt x="85195" y="96013"/>
                  </a:cubicBezTo>
                  <a:cubicBezTo>
                    <a:pt x="85188" y="96014"/>
                    <a:pt x="85181" y="96016"/>
                    <a:pt x="85175" y="96020"/>
                  </a:cubicBezTo>
                  <a:cubicBezTo>
                    <a:pt x="83698" y="97202"/>
                    <a:pt x="82345" y="98396"/>
                    <a:pt x="81083" y="99627"/>
                  </a:cubicBezTo>
                  <a:lnTo>
                    <a:pt x="59388" y="140033"/>
                  </a:lnTo>
                  <a:cubicBezTo>
                    <a:pt x="57295" y="143873"/>
                    <a:pt x="53303" y="146296"/>
                    <a:pt x="48930" y="146379"/>
                  </a:cubicBezTo>
                  <a:close/>
                </a:path>
              </a:pathLst>
            </a:custGeom>
            <a:solidFill>
              <a:schemeClr val="accent6"/>
            </a:solidFill>
            <a:ln w="1905" cap="flat">
              <a:solidFill>
                <a:schemeClr val="accent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srgbClr val="404955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167" name="Freihandform: Form 293">
              <a:extLst>
                <a:ext uri="{FF2B5EF4-FFF2-40B4-BE49-F238E27FC236}">
                  <a16:creationId xmlns:a16="http://schemas.microsoft.com/office/drawing/2014/main" id="{DCDF0694-0E96-1924-EC06-9520612FA3D5}"/>
                </a:ext>
              </a:extLst>
            </p:cNvPr>
            <p:cNvSpPr/>
            <p:nvPr/>
          </p:nvSpPr>
          <p:spPr>
            <a:xfrm>
              <a:off x="768481" y="1583655"/>
              <a:ext cx="153321" cy="158219"/>
            </a:xfrm>
            <a:custGeom>
              <a:avLst/>
              <a:gdLst>
                <a:gd name="connsiteX0" fmla="*/ 92855 w 140008"/>
                <a:gd name="connsiteY0" fmla="*/ 140043 h 140052"/>
                <a:gd name="connsiteX1" fmla="*/ 82450 w 140008"/>
                <a:gd name="connsiteY1" fmla="*/ 134174 h 140052"/>
                <a:gd name="connsiteX2" fmla="*/ 77102 w 140008"/>
                <a:gd name="connsiteY2" fmla="*/ 124589 h 140052"/>
                <a:gd name="connsiteX3" fmla="*/ 77029 w 140008"/>
                <a:gd name="connsiteY3" fmla="*/ 124616 h 140052"/>
                <a:gd name="connsiteX4" fmla="*/ 77156 w 140008"/>
                <a:gd name="connsiteY4" fmla="*/ 125095 h 140052"/>
                <a:gd name="connsiteX5" fmla="*/ 68915 w 140008"/>
                <a:gd name="connsiteY5" fmla="*/ 139033 h 140052"/>
                <a:gd name="connsiteX6" fmla="*/ 65559 w 140008"/>
                <a:gd name="connsiteY6" fmla="*/ 139665 h 140052"/>
                <a:gd name="connsiteX7" fmla="*/ 54328 w 140008"/>
                <a:gd name="connsiteY7" fmla="*/ 130746 h 140052"/>
                <a:gd name="connsiteX8" fmla="*/ 46663 w 140008"/>
                <a:gd name="connsiteY8" fmla="*/ 100075 h 140052"/>
                <a:gd name="connsiteX9" fmla="*/ 27473 w 140008"/>
                <a:gd name="connsiteY9" fmla="*/ 57656 h 140052"/>
                <a:gd name="connsiteX10" fmla="*/ 0 w 140008"/>
                <a:gd name="connsiteY10" fmla="*/ 28394 h 140052"/>
                <a:gd name="connsiteX11" fmla="*/ 6018 w 140008"/>
                <a:gd name="connsiteY11" fmla="*/ 22748 h 140052"/>
                <a:gd name="connsiteX12" fmla="*/ 35208 w 140008"/>
                <a:gd name="connsiteY12" fmla="*/ 53842 h 140052"/>
                <a:gd name="connsiteX13" fmla="*/ 35950 w 140008"/>
                <a:gd name="connsiteY13" fmla="*/ 58379 h 140052"/>
                <a:gd name="connsiteX14" fmla="*/ 53316 w 140008"/>
                <a:gd name="connsiteY14" fmla="*/ 95082 h 140052"/>
                <a:gd name="connsiteX15" fmla="*/ 54400 w 140008"/>
                <a:gd name="connsiteY15" fmla="*/ 96999 h 140052"/>
                <a:gd name="connsiteX16" fmla="*/ 62361 w 140008"/>
                <a:gd name="connsiteY16" fmla="*/ 128852 h 140052"/>
                <a:gd name="connsiteX17" fmla="*/ 65564 w 140008"/>
                <a:gd name="connsiteY17" fmla="*/ 131415 h 140052"/>
                <a:gd name="connsiteX18" fmla="*/ 66377 w 140008"/>
                <a:gd name="connsiteY18" fmla="*/ 131180 h 140052"/>
                <a:gd name="connsiteX19" fmla="*/ 69100 w 140008"/>
                <a:gd name="connsiteY19" fmla="*/ 126844 h 140052"/>
                <a:gd name="connsiteX20" fmla="*/ 69089 w 140008"/>
                <a:gd name="connsiteY20" fmla="*/ 126796 h 140052"/>
                <a:gd name="connsiteX21" fmla="*/ 61926 w 140008"/>
                <a:gd name="connsiteY21" fmla="*/ 97067 h 140052"/>
                <a:gd name="connsiteX22" fmla="*/ 64970 w 140008"/>
                <a:gd name="connsiteY22" fmla="*/ 92090 h 140052"/>
                <a:gd name="connsiteX23" fmla="*/ 69539 w 140008"/>
                <a:gd name="connsiteY23" fmla="*/ 94092 h 140052"/>
                <a:gd name="connsiteX24" fmla="*/ 89632 w 140008"/>
                <a:gd name="connsiteY24" fmla="*/ 130117 h 140052"/>
                <a:gd name="connsiteX25" fmla="*/ 92855 w 140008"/>
                <a:gd name="connsiteY25" fmla="*/ 131793 h 140052"/>
                <a:gd name="connsiteX26" fmla="*/ 94354 w 140008"/>
                <a:gd name="connsiteY26" fmla="*/ 131349 h 140052"/>
                <a:gd name="connsiteX27" fmla="*/ 94800 w 140008"/>
                <a:gd name="connsiteY27" fmla="*/ 131090 h 140052"/>
                <a:gd name="connsiteX28" fmla="*/ 96287 w 140008"/>
                <a:gd name="connsiteY28" fmla="*/ 129251 h 140052"/>
                <a:gd name="connsiteX29" fmla="*/ 96073 w 140008"/>
                <a:gd name="connsiteY29" fmla="*/ 126546 h 140052"/>
                <a:gd name="connsiteX30" fmla="*/ 78632 w 140008"/>
                <a:gd name="connsiteY30" fmla="*/ 95067 h 140052"/>
                <a:gd name="connsiteX31" fmla="*/ 80241 w 140008"/>
                <a:gd name="connsiteY31" fmla="*/ 89460 h 140052"/>
                <a:gd name="connsiteX32" fmla="*/ 85259 w 140008"/>
                <a:gd name="connsiteY32" fmla="*/ 90257 h 140052"/>
                <a:gd name="connsiteX33" fmla="*/ 111040 w 140008"/>
                <a:gd name="connsiteY33" fmla="*/ 117938 h 140052"/>
                <a:gd name="connsiteX34" fmla="*/ 116289 w 140008"/>
                <a:gd name="connsiteY34" fmla="*/ 118007 h 140052"/>
                <a:gd name="connsiteX35" fmla="*/ 116289 w 140008"/>
                <a:gd name="connsiteY35" fmla="*/ 113229 h 140052"/>
                <a:gd name="connsiteX36" fmla="*/ 88706 w 140008"/>
                <a:gd name="connsiteY36" fmla="*/ 83752 h 140052"/>
                <a:gd name="connsiteX37" fmla="*/ 88902 w 140008"/>
                <a:gd name="connsiteY37" fmla="*/ 77922 h 140052"/>
                <a:gd name="connsiteX38" fmla="*/ 94015 w 140008"/>
                <a:gd name="connsiteY38" fmla="*/ 77508 h 140052"/>
                <a:gd name="connsiteX39" fmla="*/ 126242 w 140008"/>
                <a:gd name="connsiteY39" fmla="*/ 99123 h 140052"/>
                <a:gd name="connsiteX40" fmla="*/ 128115 w 140008"/>
                <a:gd name="connsiteY40" fmla="*/ 99562 h 140052"/>
                <a:gd name="connsiteX41" fmla="*/ 131126 w 140008"/>
                <a:gd name="connsiteY41" fmla="*/ 97984 h 140052"/>
                <a:gd name="connsiteX42" fmla="*/ 130373 w 140008"/>
                <a:gd name="connsiteY42" fmla="*/ 93089 h 140052"/>
                <a:gd name="connsiteX43" fmla="*/ 91708 w 140008"/>
                <a:gd name="connsiteY43" fmla="*/ 67302 h 140052"/>
                <a:gd name="connsiteX44" fmla="*/ 90801 w 140008"/>
                <a:gd name="connsiteY44" fmla="*/ 66481 h 140052"/>
                <a:gd name="connsiteX45" fmla="*/ 82031 w 140008"/>
                <a:gd name="connsiteY45" fmla="*/ 52951 h 140052"/>
                <a:gd name="connsiteX46" fmla="*/ 83676 w 140008"/>
                <a:gd name="connsiteY46" fmla="*/ 47355 h 140052"/>
                <a:gd name="connsiteX47" fmla="*/ 85653 w 140008"/>
                <a:gd name="connsiteY47" fmla="*/ 46851 h 140052"/>
                <a:gd name="connsiteX48" fmla="*/ 86970 w 140008"/>
                <a:gd name="connsiteY48" fmla="*/ 46958 h 140052"/>
                <a:gd name="connsiteX49" fmla="*/ 117807 w 140008"/>
                <a:gd name="connsiteY49" fmla="*/ 44694 h 140052"/>
                <a:gd name="connsiteX50" fmla="*/ 119116 w 140008"/>
                <a:gd name="connsiteY50" fmla="*/ 43044 h 140052"/>
                <a:gd name="connsiteX51" fmla="*/ 118822 w 140008"/>
                <a:gd name="connsiteY51" fmla="*/ 40844 h 140052"/>
                <a:gd name="connsiteX52" fmla="*/ 117154 w 140008"/>
                <a:gd name="connsiteY52" fmla="*/ 39496 h 140052"/>
                <a:gd name="connsiteX53" fmla="*/ 114951 w 140008"/>
                <a:gd name="connsiteY53" fmla="*/ 39791 h 140052"/>
                <a:gd name="connsiteX54" fmla="*/ 91494 w 140008"/>
                <a:gd name="connsiteY54" fmla="*/ 38843 h 140052"/>
                <a:gd name="connsiteX55" fmla="*/ 90841 w 140008"/>
                <a:gd name="connsiteY55" fmla="*/ 38701 h 140052"/>
                <a:gd name="connsiteX56" fmla="*/ 56000 w 140008"/>
                <a:gd name="connsiteY56" fmla="*/ 36383 h 140052"/>
                <a:gd name="connsiteX57" fmla="*/ 51932 w 140008"/>
                <a:gd name="connsiteY57" fmla="*/ 35214 h 140052"/>
                <a:gd name="connsiteX58" fmla="*/ 24257 w 140008"/>
                <a:gd name="connsiteY58" fmla="*/ 5638 h 140052"/>
                <a:gd name="connsiteX59" fmla="*/ 30283 w 140008"/>
                <a:gd name="connsiteY59" fmla="*/ 0 h 140052"/>
                <a:gd name="connsiteX60" fmla="*/ 56322 w 140008"/>
                <a:gd name="connsiteY60" fmla="*/ 27832 h 140052"/>
                <a:gd name="connsiteX61" fmla="*/ 92686 w 140008"/>
                <a:gd name="connsiteY61" fmla="*/ 30661 h 140052"/>
                <a:gd name="connsiteX62" fmla="*/ 93246 w 140008"/>
                <a:gd name="connsiteY62" fmla="*/ 30782 h 140052"/>
                <a:gd name="connsiteX63" fmla="*/ 110974 w 140008"/>
                <a:gd name="connsiteY63" fmla="*/ 32567 h 140052"/>
                <a:gd name="connsiteX64" fmla="*/ 119361 w 140008"/>
                <a:gd name="connsiteY64" fmla="*/ 31550 h 140052"/>
                <a:gd name="connsiteX65" fmla="*/ 126032 w 140008"/>
                <a:gd name="connsiteY65" fmla="*/ 36841 h 140052"/>
                <a:gd name="connsiteX66" fmla="*/ 127063 w 140008"/>
                <a:gd name="connsiteY66" fmla="*/ 45256 h 140052"/>
                <a:gd name="connsiteX67" fmla="*/ 121774 w 140008"/>
                <a:gd name="connsiteY67" fmla="*/ 51928 h 140052"/>
                <a:gd name="connsiteX68" fmla="*/ 93747 w 140008"/>
                <a:gd name="connsiteY68" fmla="*/ 56436 h 140052"/>
                <a:gd name="connsiteX69" fmla="*/ 93706 w 140008"/>
                <a:gd name="connsiteY69" fmla="*/ 56477 h 140052"/>
                <a:gd name="connsiteX70" fmla="*/ 93710 w 140008"/>
                <a:gd name="connsiteY70" fmla="*/ 56496 h 140052"/>
                <a:gd name="connsiteX71" fmla="*/ 96807 w 140008"/>
                <a:gd name="connsiteY71" fmla="*/ 60786 h 140052"/>
                <a:gd name="connsiteX72" fmla="*/ 134951 w 140008"/>
                <a:gd name="connsiteY72" fmla="*/ 86222 h 140052"/>
                <a:gd name="connsiteX73" fmla="*/ 137859 w 140008"/>
                <a:gd name="connsiteY73" fmla="*/ 102753 h 140052"/>
                <a:gd name="connsiteX74" fmla="*/ 128115 w 140008"/>
                <a:gd name="connsiteY74" fmla="*/ 107810 h 140052"/>
                <a:gd name="connsiteX75" fmla="*/ 121655 w 140008"/>
                <a:gd name="connsiteY75" fmla="*/ 105980 h 140052"/>
                <a:gd name="connsiteX76" fmla="*/ 119651 w 140008"/>
                <a:gd name="connsiteY76" fmla="*/ 104636 h 140052"/>
                <a:gd name="connsiteX77" fmla="*/ 119601 w 140008"/>
                <a:gd name="connsiteY77" fmla="*/ 104696 h 140052"/>
                <a:gd name="connsiteX78" fmla="*/ 122406 w 140008"/>
                <a:gd name="connsiteY78" fmla="*/ 107693 h 140052"/>
                <a:gd name="connsiteX79" fmla="*/ 121931 w 140008"/>
                <a:gd name="connsiteY79" fmla="*/ 124044 h 140052"/>
                <a:gd name="connsiteX80" fmla="*/ 121492 w 140008"/>
                <a:gd name="connsiteY80" fmla="*/ 124426 h 140052"/>
                <a:gd name="connsiteX81" fmla="*/ 113709 w 140008"/>
                <a:gd name="connsiteY81" fmla="*/ 127149 h 140052"/>
                <a:gd name="connsiteX82" fmla="*/ 105101 w 140008"/>
                <a:gd name="connsiteY82" fmla="*/ 123663 h 140052"/>
                <a:gd name="connsiteX83" fmla="*/ 102378 w 140008"/>
                <a:gd name="connsiteY83" fmla="*/ 120738 h 140052"/>
                <a:gd name="connsiteX84" fmla="*/ 102315 w 140008"/>
                <a:gd name="connsiteY84" fmla="*/ 120783 h 140052"/>
                <a:gd name="connsiteX85" fmla="*/ 103290 w 140008"/>
                <a:gd name="connsiteY85" fmla="*/ 122541 h 140052"/>
                <a:gd name="connsiteX86" fmla="*/ 104168 w 140008"/>
                <a:gd name="connsiteY86" fmla="*/ 131687 h 140052"/>
                <a:gd name="connsiteX87" fmla="*/ 98713 w 140008"/>
                <a:gd name="connsiteY87" fmla="*/ 138355 h 140052"/>
                <a:gd name="connsiteX88" fmla="*/ 92855 w 140008"/>
                <a:gd name="connsiteY88" fmla="*/ 140043 h 1400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</a:cxnLst>
              <a:rect l="l" t="t" r="r" b="b"/>
              <a:pathLst>
                <a:path w="140008" h="140052">
                  <a:moveTo>
                    <a:pt x="92855" y="140043"/>
                  </a:moveTo>
                  <a:cubicBezTo>
                    <a:pt x="88554" y="140219"/>
                    <a:pt x="84524" y="137946"/>
                    <a:pt x="82450" y="134174"/>
                  </a:cubicBezTo>
                  <a:lnTo>
                    <a:pt x="77102" y="124589"/>
                  </a:lnTo>
                  <a:cubicBezTo>
                    <a:pt x="77034" y="124468"/>
                    <a:pt x="77001" y="124480"/>
                    <a:pt x="77029" y="124616"/>
                  </a:cubicBezTo>
                  <a:lnTo>
                    <a:pt x="77156" y="125095"/>
                  </a:lnTo>
                  <a:cubicBezTo>
                    <a:pt x="78479" y="131182"/>
                    <a:pt x="74885" y="137259"/>
                    <a:pt x="68915" y="139033"/>
                  </a:cubicBezTo>
                  <a:cubicBezTo>
                    <a:pt x="67860" y="139500"/>
                    <a:pt x="66712" y="139717"/>
                    <a:pt x="65559" y="139665"/>
                  </a:cubicBezTo>
                  <a:cubicBezTo>
                    <a:pt x="60179" y="139717"/>
                    <a:pt x="55496" y="135998"/>
                    <a:pt x="54328" y="130746"/>
                  </a:cubicBezTo>
                  <a:lnTo>
                    <a:pt x="46663" y="100075"/>
                  </a:lnTo>
                  <a:cubicBezTo>
                    <a:pt x="42321" y="95516"/>
                    <a:pt x="23027" y="74090"/>
                    <a:pt x="27473" y="57656"/>
                  </a:cubicBezTo>
                  <a:lnTo>
                    <a:pt x="0" y="28394"/>
                  </a:lnTo>
                  <a:lnTo>
                    <a:pt x="6018" y="22748"/>
                  </a:lnTo>
                  <a:lnTo>
                    <a:pt x="35208" y="53842"/>
                  </a:lnTo>
                  <a:cubicBezTo>
                    <a:pt x="36353" y="55063"/>
                    <a:pt x="36647" y="56856"/>
                    <a:pt x="35950" y="58379"/>
                  </a:cubicBezTo>
                  <a:cubicBezTo>
                    <a:pt x="31536" y="68046"/>
                    <a:pt x="44260" y="86023"/>
                    <a:pt x="53316" y="95082"/>
                  </a:cubicBezTo>
                  <a:cubicBezTo>
                    <a:pt x="53844" y="95611"/>
                    <a:pt x="54219" y="96274"/>
                    <a:pt x="54400" y="96999"/>
                  </a:cubicBezTo>
                  <a:lnTo>
                    <a:pt x="62361" y="128852"/>
                  </a:lnTo>
                  <a:cubicBezTo>
                    <a:pt x="62679" y="130362"/>
                    <a:pt x="64021" y="131437"/>
                    <a:pt x="65564" y="131415"/>
                  </a:cubicBezTo>
                  <a:cubicBezTo>
                    <a:pt x="65827" y="131311"/>
                    <a:pt x="66099" y="131232"/>
                    <a:pt x="66377" y="131180"/>
                  </a:cubicBezTo>
                  <a:cubicBezTo>
                    <a:pt x="68327" y="130734"/>
                    <a:pt x="69545" y="128793"/>
                    <a:pt x="69100" y="126844"/>
                  </a:cubicBezTo>
                  <a:cubicBezTo>
                    <a:pt x="69096" y="126828"/>
                    <a:pt x="69093" y="126812"/>
                    <a:pt x="69089" y="126796"/>
                  </a:cubicBezTo>
                  <a:lnTo>
                    <a:pt x="61926" y="97067"/>
                  </a:lnTo>
                  <a:cubicBezTo>
                    <a:pt x="61392" y="94852"/>
                    <a:pt x="62755" y="92624"/>
                    <a:pt x="64970" y="92090"/>
                  </a:cubicBezTo>
                  <a:cubicBezTo>
                    <a:pt x="66770" y="91657"/>
                    <a:pt x="68638" y="92475"/>
                    <a:pt x="69539" y="94092"/>
                  </a:cubicBezTo>
                  <a:lnTo>
                    <a:pt x="89632" y="130117"/>
                  </a:lnTo>
                  <a:cubicBezTo>
                    <a:pt x="90238" y="131307"/>
                    <a:pt x="91533" y="131980"/>
                    <a:pt x="92855" y="131793"/>
                  </a:cubicBezTo>
                  <a:cubicBezTo>
                    <a:pt x="93383" y="131770"/>
                    <a:pt x="93898" y="131618"/>
                    <a:pt x="94354" y="131349"/>
                  </a:cubicBezTo>
                  <a:cubicBezTo>
                    <a:pt x="94497" y="131254"/>
                    <a:pt x="94646" y="131168"/>
                    <a:pt x="94800" y="131090"/>
                  </a:cubicBezTo>
                  <a:cubicBezTo>
                    <a:pt x="95528" y="130707"/>
                    <a:pt x="96065" y="130042"/>
                    <a:pt x="96287" y="129251"/>
                  </a:cubicBezTo>
                  <a:cubicBezTo>
                    <a:pt x="96578" y="128356"/>
                    <a:pt x="96501" y="127383"/>
                    <a:pt x="96073" y="126546"/>
                  </a:cubicBezTo>
                  <a:lnTo>
                    <a:pt x="78632" y="95067"/>
                  </a:lnTo>
                  <a:cubicBezTo>
                    <a:pt x="77528" y="93074"/>
                    <a:pt x="78248" y="90564"/>
                    <a:pt x="80241" y="89460"/>
                  </a:cubicBezTo>
                  <a:cubicBezTo>
                    <a:pt x="81898" y="88541"/>
                    <a:pt x="83968" y="88870"/>
                    <a:pt x="85259" y="90257"/>
                  </a:cubicBezTo>
                  <a:lnTo>
                    <a:pt x="111040" y="117938"/>
                  </a:lnTo>
                  <a:cubicBezTo>
                    <a:pt x="112547" y="119216"/>
                    <a:pt x="114749" y="119245"/>
                    <a:pt x="116289" y="118007"/>
                  </a:cubicBezTo>
                  <a:cubicBezTo>
                    <a:pt x="117518" y="116651"/>
                    <a:pt x="117518" y="114585"/>
                    <a:pt x="116289" y="113229"/>
                  </a:cubicBezTo>
                  <a:lnTo>
                    <a:pt x="88706" y="83752"/>
                  </a:lnTo>
                  <a:cubicBezTo>
                    <a:pt x="87150" y="82088"/>
                    <a:pt x="87238" y="79478"/>
                    <a:pt x="88902" y="77922"/>
                  </a:cubicBezTo>
                  <a:cubicBezTo>
                    <a:pt x="90303" y="76612"/>
                    <a:pt x="92421" y="76440"/>
                    <a:pt x="94015" y="77508"/>
                  </a:cubicBezTo>
                  <a:lnTo>
                    <a:pt x="126242" y="99123"/>
                  </a:lnTo>
                  <a:cubicBezTo>
                    <a:pt x="126815" y="99435"/>
                    <a:pt x="127462" y="99586"/>
                    <a:pt x="128115" y="99562"/>
                  </a:cubicBezTo>
                  <a:cubicBezTo>
                    <a:pt x="129311" y="99538"/>
                    <a:pt x="130425" y="98953"/>
                    <a:pt x="131126" y="97984"/>
                  </a:cubicBezTo>
                  <a:cubicBezTo>
                    <a:pt x="132189" y="96405"/>
                    <a:pt x="131861" y="94275"/>
                    <a:pt x="130373" y="93089"/>
                  </a:cubicBezTo>
                  <a:lnTo>
                    <a:pt x="91708" y="67302"/>
                  </a:lnTo>
                  <a:cubicBezTo>
                    <a:pt x="91367" y="67075"/>
                    <a:pt x="91061" y="66798"/>
                    <a:pt x="90801" y="66481"/>
                  </a:cubicBezTo>
                  <a:cubicBezTo>
                    <a:pt x="87464" y="62253"/>
                    <a:pt x="84528" y="57724"/>
                    <a:pt x="82031" y="52951"/>
                  </a:cubicBezTo>
                  <a:cubicBezTo>
                    <a:pt x="80940" y="50952"/>
                    <a:pt x="81676" y="48446"/>
                    <a:pt x="83676" y="47355"/>
                  </a:cubicBezTo>
                  <a:cubicBezTo>
                    <a:pt x="84282" y="47024"/>
                    <a:pt x="84962" y="46851"/>
                    <a:pt x="85653" y="46851"/>
                  </a:cubicBezTo>
                  <a:cubicBezTo>
                    <a:pt x="86094" y="46851"/>
                    <a:pt x="86535" y="46886"/>
                    <a:pt x="86970" y="46958"/>
                  </a:cubicBezTo>
                  <a:cubicBezTo>
                    <a:pt x="97205" y="49756"/>
                    <a:pt x="108090" y="48957"/>
                    <a:pt x="117807" y="44694"/>
                  </a:cubicBezTo>
                  <a:cubicBezTo>
                    <a:pt x="118450" y="44346"/>
                    <a:pt x="118923" y="43750"/>
                    <a:pt x="119116" y="43044"/>
                  </a:cubicBezTo>
                  <a:cubicBezTo>
                    <a:pt x="119314" y="42301"/>
                    <a:pt x="119208" y="41509"/>
                    <a:pt x="118822" y="40844"/>
                  </a:cubicBezTo>
                  <a:cubicBezTo>
                    <a:pt x="118475" y="40185"/>
                    <a:pt x="117871" y="39697"/>
                    <a:pt x="117154" y="39496"/>
                  </a:cubicBezTo>
                  <a:cubicBezTo>
                    <a:pt x="116409" y="39302"/>
                    <a:pt x="115618" y="39408"/>
                    <a:pt x="114951" y="39791"/>
                  </a:cubicBezTo>
                  <a:cubicBezTo>
                    <a:pt x="109516" y="42758"/>
                    <a:pt x="101166" y="40946"/>
                    <a:pt x="91494" y="38843"/>
                  </a:cubicBezTo>
                  <a:lnTo>
                    <a:pt x="90841" y="38701"/>
                  </a:lnTo>
                  <a:cubicBezTo>
                    <a:pt x="80633" y="36236"/>
                    <a:pt x="68033" y="33192"/>
                    <a:pt x="56000" y="36383"/>
                  </a:cubicBezTo>
                  <a:cubicBezTo>
                    <a:pt x="54532" y="36770"/>
                    <a:pt x="52970" y="36321"/>
                    <a:pt x="51932" y="35214"/>
                  </a:cubicBezTo>
                  <a:lnTo>
                    <a:pt x="24257" y="5638"/>
                  </a:lnTo>
                  <a:lnTo>
                    <a:pt x="30283" y="0"/>
                  </a:lnTo>
                  <a:lnTo>
                    <a:pt x="56322" y="27832"/>
                  </a:lnTo>
                  <a:cubicBezTo>
                    <a:pt x="69522" y="25068"/>
                    <a:pt x="82297" y="28153"/>
                    <a:pt x="92686" y="30661"/>
                  </a:cubicBezTo>
                  <a:lnTo>
                    <a:pt x="93246" y="30782"/>
                  </a:lnTo>
                  <a:cubicBezTo>
                    <a:pt x="99937" y="32239"/>
                    <a:pt x="108255" y="34052"/>
                    <a:pt x="110974" y="32567"/>
                  </a:cubicBezTo>
                  <a:cubicBezTo>
                    <a:pt x="113526" y="31135"/>
                    <a:pt x="116541" y="30770"/>
                    <a:pt x="119361" y="31550"/>
                  </a:cubicBezTo>
                  <a:cubicBezTo>
                    <a:pt x="122208" y="32340"/>
                    <a:pt x="124614" y="34249"/>
                    <a:pt x="126032" y="36841"/>
                  </a:cubicBezTo>
                  <a:cubicBezTo>
                    <a:pt x="127477" y="39399"/>
                    <a:pt x="127848" y="42425"/>
                    <a:pt x="127063" y="45256"/>
                  </a:cubicBezTo>
                  <a:cubicBezTo>
                    <a:pt x="126274" y="48104"/>
                    <a:pt x="124366" y="50510"/>
                    <a:pt x="121774" y="51928"/>
                  </a:cubicBezTo>
                  <a:cubicBezTo>
                    <a:pt x="113070" y="56128"/>
                    <a:pt x="103329" y="57696"/>
                    <a:pt x="93747" y="56436"/>
                  </a:cubicBezTo>
                  <a:cubicBezTo>
                    <a:pt x="93725" y="56436"/>
                    <a:pt x="93706" y="56454"/>
                    <a:pt x="93706" y="56477"/>
                  </a:cubicBezTo>
                  <a:cubicBezTo>
                    <a:pt x="93706" y="56484"/>
                    <a:pt x="93707" y="56490"/>
                    <a:pt x="93710" y="56496"/>
                  </a:cubicBezTo>
                  <a:cubicBezTo>
                    <a:pt x="94668" y="57950"/>
                    <a:pt x="95696" y="59395"/>
                    <a:pt x="96807" y="60786"/>
                  </a:cubicBezTo>
                  <a:lnTo>
                    <a:pt x="134951" y="86222"/>
                  </a:lnTo>
                  <a:cubicBezTo>
                    <a:pt x="140318" y="89984"/>
                    <a:pt x="141620" y="97385"/>
                    <a:pt x="137859" y="102753"/>
                  </a:cubicBezTo>
                  <a:cubicBezTo>
                    <a:pt x="135632" y="105930"/>
                    <a:pt x="131994" y="107818"/>
                    <a:pt x="128115" y="107810"/>
                  </a:cubicBezTo>
                  <a:cubicBezTo>
                    <a:pt x="125829" y="107842"/>
                    <a:pt x="123584" y="107205"/>
                    <a:pt x="121655" y="105980"/>
                  </a:cubicBezTo>
                  <a:cubicBezTo>
                    <a:pt x="121655" y="105980"/>
                    <a:pt x="120743" y="105373"/>
                    <a:pt x="119651" y="104636"/>
                  </a:cubicBezTo>
                  <a:cubicBezTo>
                    <a:pt x="119491" y="104527"/>
                    <a:pt x="119469" y="104553"/>
                    <a:pt x="119601" y="104696"/>
                  </a:cubicBezTo>
                  <a:lnTo>
                    <a:pt x="122406" y="107693"/>
                  </a:lnTo>
                  <a:cubicBezTo>
                    <a:pt x="126656" y="112390"/>
                    <a:pt x="126447" y="119602"/>
                    <a:pt x="121931" y="124044"/>
                  </a:cubicBezTo>
                  <a:cubicBezTo>
                    <a:pt x="121795" y="124182"/>
                    <a:pt x="121648" y="124310"/>
                    <a:pt x="121492" y="124426"/>
                  </a:cubicBezTo>
                  <a:cubicBezTo>
                    <a:pt x="119258" y="126147"/>
                    <a:pt x="116529" y="127101"/>
                    <a:pt x="113709" y="127149"/>
                  </a:cubicBezTo>
                  <a:cubicBezTo>
                    <a:pt x="110486" y="127201"/>
                    <a:pt x="107380" y="125944"/>
                    <a:pt x="105101" y="123663"/>
                  </a:cubicBezTo>
                  <a:lnTo>
                    <a:pt x="102378" y="120738"/>
                  </a:lnTo>
                  <a:cubicBezTo>
                    <a:pt x="102257" y="120607"/>
                    <a:pt x="102228" y="120627"/>
                    <a:pt x="102315" y="120783"/>
                  </a:cubicBezTo>
                  <a:lnTo>
                    <a:pt x="103290" y="122541"/>
                  </a:lnTo>
                  <a:cubicBezTo>
                    <a:pt x="104809" y="125345"/>
                    <a:pt x="105126" y="128645"/>
                    <a:pt x="104168" y="131687"/>
                  </a:cubicBezTo>
                  <a:cubicBezTo>
                    <a:pt x="103315" y="134550"/>
                    <a:pt x="101351" y="136952"/>
                    <a:pt x="98713" y="138355"/>
                  </a:cubicBezTo>
                  <a:cubicBezTo>
                    <a:pt x="96949" y="139438"/>
                    <a:pt x="94925" y="140021"/>
                    <a:pt x="92855" y="140043"/>
                  </a:cubicBezTo>
                  <a:close/>
                </a:path>
              </a:pathLst>
            </a:custGeom>
            <a:solidFill>
              <a:schemeClr val="accent6"/>
            </a:solidFill>
            <a:ln w="1905" cap="flat">
              <a:solidFill>
                <a:schemeClr val="accent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srgbClr val="404955"/>
                </a:solidFill>
                <a:effectLst/>
                <a:uLnTx/>
                <a:uFillTx/>
                <a:latin typeface="Arial"/>
              </a:endParaRPr>
            </a:p>
          </p:txBody>
        </p:sp>
      </p:grpSp>
      <p:sp>
        <p:nvSpPr>
          <p:cNvPr id="9" name="Content Placeholder 6">
            <a:extLst>
              <a:ext uri="{FF2B5EF4-FFF2-40B4-BE49-F238E27FC236}">
                <a16:creationId xmlns:a16="http://schemas.microsoft.com/office/drawing/2014/main" id="{3CA20CAC-E67E-02D1-AE5B-D7C5676FF96E}"/>
              </a:ext>
            </a:extLst>
          </p:cNvPr>
          <p:cNvSpPr txBox="1">
            <a:spLocks/>
          </p:cNvSpPr>
          <p:nvPr/>
        </p:nvSpPr>
        <p:spPr>
          <a:xfrm>
            <a:off x="1450244" y="4383857"/>
            <a:ext cx="2175857" cy="253916"/>
          </a:xfrm>
          <a:prstGeom prst="rect">
            <a:avLst/>
          </a:prstGeom>
        </p:spPr>
        <p:txBody>
          <a:bodyPr vert="horz" wrap="square" lIns="72000" tIns="45720" rIns="72000" bIns="45720" anchor="ctr" anchorCtr="0">
            <a:spAutoFit/>
          </a:bodyPr>
          <a:lstStyle>
            <a:lvl1pPr marL="0" indent="0" algn="l" defTabSz="685800" rtl="0" eaLnBrk="1" latinLnBrk="0" hangingPunct="1">
              <a:lnSpc>
                <a:spcPct val="120000"/>
              </a:lnSpc>
              <a:spcBef>
                <a:spcPts val="8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4000" indent="-180000" algn="l" defTabSz="685800" rtl="0" eaLnBrk="1" latinLnBrk="0" hangingPunct="1">
              <a:lnSpc>
                <a:spcPct val="120000"/>
              </a:lnSpc>
              <a:spcBef>
                <a:spcPts val="800"/>
              </a:spcBef>
              <a:buClr>
                <a:schemeClr val="accent6"/>
              </a:buClr>
              <a:buSzPct val="100000"/>
              <a:buFont typeface="Wingdings" panose="05000000000000000000" pitchFamily="2" charset="2"/>
              <a:buChar char="n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4000" indent="-180000" algn="l" defTabSz="685800" rtl="0" eaLnBrk="1" latinLnBrk="0" hangingPunct="1">
              <a:lnSpc>
                <a:spcPct val="120000"/>
              </a:lnSpc>
              <a:spcBef>
                <a:spcPts val="800"/>
              </a:spcBef>
              <a:buClr>
                <a:schemeClr val="accent6"/>
              </a:buClr>
              <a:buSzPct val="100000"/>
              <a:buFont typeface="Wingdings" panose="05000000000000000000" pitchFamily="2" charset="2"/>
              <a:buChar char="n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64000" indent="-180000" algn="l" defTabSz="685800" rtl="0" eaLnBrk="1" latinLnBrk="0" hangingPunct="1">
              <a:lnSpc>
                <a:spcPct val="120000"/>
              </a:lnSpc>
              <a:spcBef>
                <a:spcPts val="800"/>
              </a:spcBef>
              <a:buClr>
                <a:schemeClr val="accent6"/>
              </a:buClr>
              <a:buSzPct val="100000"/>
              <a:buFont typeface="Wingdings" panose="05000000000000000000" pitchFamily="2" charset="2"/>
              <a:buChar char="n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44000" indent="-180000" algn="l" defTabSz="685800" rtl="0" eaLnBrk="1" latinLnBrk="0" hangingPunct="1">
              <a:lnSpc>
                <a:spcPct val="120000"/>
              </a:lnSpc>
              <a:spcBef>
                <a:spcPts val="800"/>
              </a:spcBef>
              <a:buClr>
                <a:schemeClr val="accent6"/>
              </a:buClr>
              <a:buSzPct val="100000"/>
              <a:buFont typeface="Wingdings" panose="05000000000000000000" pitchFamily="2" charset="2"/>
              <a:buChar char="n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lnSpc>
                <a:spcPct val="100000"/>
              </a:lnSpc>
              <a:spcBef>
                <a:spcPts val="0"/>
              </a:spcBef>
            </a:pPr>
            <a:r>
              <a:rPr lang="en-GB" sz="1050" b="1" dirty="0"/>
              <a:t>Learn more about the CSP </a:t>
            </a:r>
            <a:r>
              <a:rPr lang="en-GB" sz="1050" b="1" dirty="0">
                <a:hlinkClick r:id="rId3"/>
              </a:rPr>
              <a:t>here</a:t>
            </a:r>
            <a:endParaRPr lang="en-US" sz="1050" b="1">
              <a:cs typeface="Arial"/>
              <a:hlinkClick r:id="rId3"/>
            </a:endParaRPr>
          </a:p>
        </p:txBody>
      </p:sp>
    </p:spTree>
    <p:extLst>
      <p:ext uri="{BB962C8B-B14F-4D97-AF65-F5344CB8AC3E}">
        <p14:creationId xmlns:p14="http://schemas.microsoft.com/office/powerpoint/2010/main" val="241094640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8B2B151-A295-93C2-B733-F30B6D4A893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1600" dirty="0"/>
              <a:t>CSP SUPPORT FOR EQE CANDIDATES based on 3 pillars</a:t>
            </a:r>
            <a:endParaRPr lang="en-GB" sz="1600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D5355F7-82F8-8316-2CBD-055F036CCD8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CANDIDATE SUPPORT PROGRAMME (CSP – EQE)</a:t>
            </a:r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C5A6524-9050-3740-8727-0454CE8327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EAC15D-B94B-4B86-ABD3-3EDECDB333F5}" type="slidenum">
              <a:rPr lang="de-DE" smtClean="0"/>
              <a:pPr/>
              <a:t>3</a:t>
            </a:fld>
            <a:endParaRPr lang="de-DE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AD430A9A-0724-DC2A-3B4E-139F503F4E14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/>
        <p:txBody>
          <a:bodyPr/>
          <a:lstStyle/>
          <a:p>
            <a:endParaRPr lang="en-GB"/>
          </a:p>
        </p:txBody>
      </p:sp>
      <p:pic>
        <p:nvPicPr>
          <p:cNvPr id="7" name="Bildplatzhalter 7">
            <a:extLst>
              <a:ext uri="{FF2B5EF4-FFF2-40B4-BE49-F238E27FC236}">
                <a16:creationId xmlns:a16="http://schemas.microsoft.com/office/drawing/2014/main" id="{602B16DE-E32C-CC20-38B7-574D2D05C666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l="7" r="7"/>
          <a:stretch/>
        </p:blipFill>
        <p:spPr>
          <a:xfrm>
            <a:off x="4913313" y="1023938"/>
            <a:ext cx="3887787" cy="3563937"/>
          </a:xfrm>
          <a:prstGeom prst="rect">
            <a:avLst/>
          </a:prstGeom>
          <a:gradFill>
            <a:gsLst>
              <a:gs pos="0">
                <a:schemeClr val="accent5"/>
              </a:gs>
              <a:gs pos="100000">
                <a:schemeClr val="accent4"/>
              </a:gs>
            </a:gsLst>
            <a:lin ang="18900000" scaled="1"/>
          </a:gradFill>
        </p:spPr>
      </p:pic>
      <p:grpSp>
        <p:nvGrpSpPr>
          <p:cNvPr id="55" name="Group 54">
            <a:extLst>
              <a:ext uri="{FF2B5EF4-FFF2-40B4-BE49-F238E27FC236}">
                <a16:creationId xmlns:a16="http://schemas.microsoft.com/office/drawing/2014/main" id="{5FE32CD1-A75C-4D65-8094-18347B3F5A6A}"/>
              </a:ext>
            </a:extLst>
          </p:cNvPr>
          <p:cNvGrpSpPr/>
          <p:nvPr/>
        </p:nvGrpSpPr>
        <p:grpSpPr>
          <a:xfrm>
            <a:off x="686700" y="1479553"/>
            <a:ext cx="3885299" cy="749328"/>
            <a:chOff x="686700" y="1479553"/>
            <a:chExt cx="3885299" cy="749328"/>
          </a:xfrm>
        </p:grpSpPr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462762CD-7BCD-E519-1AD3-FCEF7A2D2BC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86700" y="1479553"/>
              <a:ext cx="1357999" cy="749328"/>
            </a:xfrm>
            <a:prstGeom prst="rect">
              <a:avLst/>
            </a:prstGeom>
            <a:solidFill>
              <a:schemeClr val="tx1"/>
            </a:solidFill>
            <a:ln w="6350">
              <a:noFill/>
              <a:round/>
              <a:headEnd/>
              <a:tailEnd/>
            </a:ln>
            <a:effectLst/>
          </p:spPr>
          <p:txBody>
            <a:bodyPr lIns="504000" tIns="72000" rIns="36000" bIns="72000" anchor="ctr"/>
            <a:lstStyle/>
            <a:p>
              <a:pPr defTabSz="995363">
                <a:spcAft>
                  <a:spcPct val="0"/>
                </a:spcAft>
              </a:pPr>
              <a:r>
                <a:rPr lang="en-GB" sz="1300" b="1" kern="0" dirty="0">
                  <a:solidFill>
                    <a:schemeClr val="bg1"/>
                  </a:solidFill>
                  <a:latin typeface="Arial" pitchFamily="34" charset="0"/>
                </a:rPr>
                <a:t>QUALITY</a:t>
              </a:r>
            </a:p>
          </p:txBody>
        </p:sp>
        <p:sp>
          <p:nvSpPr>
            <p:cNvPr id="11" name="Rectangle 3">
              <a:extLst>
                <a:ext uri="{FF2B5EF4-FFF2-40B4-BE49-F238E27FC236}">
                  <a16:creationId xmlns:a16="http://schemas.microsoft.com/office/drawing/2014/main" id="{A5661656-3AD2-73EC-7D94-D4EDE36C999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171700" y="1479553"/>
              <a:ext cx="2400299" cy="749328"/>
            </a:xfrm>
            <a:prstGeom prst="rect">
              <a:avLst/>
            </a:prstGeom>
            <a:solidFill>
              <a:schemeClr val="accent4">
                <a:lumMod val="20000"/>
                <a:lumOff val="80000"/>
              </a:schemeClr>
            </a:solidFill>
            <a:ln w="6350" algn="ctr">
              <a:noFill/>
              <a:miter lim="800000"/>
              <a:headEnd/>
              <a:tailEnd/>
            </a:ln>
            <a:effectLst/>
          </p:spPr>
          <p:txBody>
            <a:bodyPr lIns="108000" tIns="72000" rIns="36000" bIns="72000" anchor="ctr" anchorCtr="0"/>
            <a:lstStyle/>
            <a:p>
              <a:pPr marL="0" lvl="1" defTabSz="685800">
                <a:lnSpc>
                  <a:spcPct val="120000"/>
                </a:lnSpc>
                <a:buClr>
                  <a:schemeClr val="accent6"/>
                </a:buClr>
                <a:buSzPct val="100000"/>
              </a:pPr>
              <a:r>
                <a:rPr lang="en-GB" sz="1100" b="1" dirty="0">
                  <a:cs typeface="Arial"/>
                </a:rPr>
                <a:t>up to two (2) candidates for the comprehensive CSP support over 3 years</a:t>
              </a:r>
            </a:p>
          </p:txBody>
        </p:sp>
        <p:grpSp>
          <p:nvGrpSpPr>
            <p:cNvPr id="15" name="Gruppieren 247">
              <a:extLst>
                <a:ext uri="{FF2B5EF4-FFF2-40B4-BE49-F238E27FC236}">
                  <a16:creationId xmlns:a16="http://schemas.microsoft.com/office/drawing/2014/main" id="{15EA8BCE-9676-08A5-E93D-C3B6823A0622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772818" y="1674217"/>
              <a:ext cx="329462" cy="324000"/>
              <a:chOff x="6028389" y="8543444"/>
              <a:chExt cx="883712" cy="869062"/>
            </a:xfrm>
          </p:grpSpPr>
          <p:sp>
            <p:nvSpPr>
              <p:cNvPr id="16" name="Freihandform: Form 222">
                <a:extLst>
                  <a:ext uri="{FF2B5EF4-FFF2-40B4-BE49-F238E27FC236}">
                    <a16:creationId xmlns:a16="http://schemas.microsoft.com/office/drawing/2014/main" id="{59F20DC3-B45A-39E2-6EEA-37866CEA2017}"/>
                  </a:ext>
                </a:extLst>
              </p:cNvPr>
              <p:cNvSpPr>
                <a:spLocks/>
              </p:cNvSpPr>
              <p:nvPr/>
            </p:nvSpPr>
            <p:spPr bwMode="auto">
              <a:xfrm rot="10800000">
                <a:off x="6028389" y="8543444"/>
                <a:ext cx="518461" cy="574163"/>
              </a:xfrm>
              <a:custGeom>
                <a:avLst/>
                <a:gdLst>
                  <a:gd name="connsiteX0" fmla="*/ 265658 w 518461"/>
                  <a:gd name="connsiteY0" fmla="*/ 574163 h 574163"/>
                  <a:gd name="connsiteX1" fmla="*/ 188531 w 518461"/>
                  <a:gd name="connsiteY1" fmla="*/ 574163 h 574163"/>
                  <a:gd name="connsiteX2" fmla="*/ 179962 w 518461"/>
                  <a:gd name="connsiteY2" fmla="*/ 492752 h 574163"/>
                  <a:gd name="connsiteX3" fmla="*/ 119974 w 518461"/>
                  <a:gd name="connsiteY3" fmla="*/ 467043 h 574163"/>
                  <a:gd name="connsiteX4" fmla="*/ 55702 w 518461"/>
                  <a:gd name="connsiteY4" fmla="*/ 514176 h 574163"/>
                  <a:gd name="connsiteX5" fmla="*/ 0 w 518461"/>
                  <a:gd name="connsiteY5" fmla="*/ 462758 h 574163"/>
                  <a:gd name="connsiteX6" fmla="*/ 47133 w 518461"/>
                  <a:gd name="connsiteY6" fmla="*/ 398486 h 574163"/>
                  <a:gd name="connsiteX7" fmla="*/ 23693 w 518461"/>
                  <a:gd name="connsiteY7" fmla="*/ 343794 h 574163"/>
                  <a:gd name="connsiteX8" fmla="*/ 28704 w 518461"/>
                  <a:gd name="connsiteY8" fmla="*/ 343151 h 574163"/>
                  <a:gd name="connsiteX9" fmla="*/ 179527 w 518461"/>
                  <a:gd name="connsiteY9" fmla="*/ 277329 h 574163"/>
                  <a:gd name="connsiteX10" fmla="*/ 179527 w 518461"/>
                  <a:gd name="connsiteY10" fmla="*/ 77425 h 574163"/>
                  <a:gd name="connsiteX11" fmla="*/ 179527 w 518461"/>
                  <a:gd name="connsiteY11" fmla="*/ 77300 h 574163"/>
                  <a:gd name="connsiteX12" fmla="*/ 179962 w 518461"/>
                  <a:gd name="connsiteY12" fmla="*/ 77126 h 574163"/>
                  <a:gd name="connsiteX13" fmla="*/ 188531 w 518461"/>
                  <a:gd name="connsiteY13" fmla="*/ 0 h 574163"/>
                  <a:gd name="connsiteX14" fmla="*/ 269942 w 518461"/>
                  <a:gd name="connsiteY14" fmla="*/ 0 h 574163"/>
                  <a:gd name="connsiteX15" fmla="*/ 278512 w 518461"/>
                  <a:gd name="connsiteY15" fmla="*/ 77126 h 574163"/>
                  <a:gd name="connsiteX16" fmla="*/ 342784 w 518461"/>
                  <a:gd name="connsiteY16" fmla="*/ 102835 h 574163"/>
                  <a:gd name="connsiteX17" fmla="*/ 407056 w 518461"/>
                  <a:gd name="connsiteY17" fmla="*/ 55702 h 574163"/>
                  <a:gd name="connsiteX18" fmla="*/ 458474 w 518461"/>
                  <a:gd name="connsiteY18" fmla="*/ 111405 h 574163"/>
                  <a:gd name="connsiteX19" fmla="*/ 411341 w 518461"/>
                  <a:gd name="connsiteY19" fmla="*/ 175677 h 574163"/>
                  <a:gd name="connsiteX20" fmla="*/ 437050 w 518461"/>
                  <a:gd name="connsiteY20" fmla="*/ 235664 h 574163"/>
                  <a:gd name="connsiteX21" fmla="*/ 518461 w 518461"/>
                  <a:gd name="connsiteY21" fmla="*/ 248518 h 574163"/>
                  <a:gd name="connsiteX22" fmla="*/ 518461 w 518461"/>
                  <a:gd name="connsiteY22" fmla="*/ 325645 h 574163"/>
                  <a:gd name="connsiteX23" fmla="*/ 437050 w 518461"/>
                  <a:gd name="connsiteY23" fmla="*/ 334214 h 574163"/>
                  <a:gd name="connsiteX24" fmla="*/ 411341 w 518461"/>
                  <a:gd name="connsiteY24" fmla="*/ 398486 h 574163"/>
                  <a:gd name="connsiteX25" fmla="*/ 458474 w 518461"/>
                  <a:gd name="connsiteY25" fmla="*/ 462758 h 574163"/>
                  <a:gd name="connsiteX26" fmla="*/ 407056 w 518461"/>
                  <a:gd name="connsiteY26" fmla="*/ 514176 h 574163"/>
                  <a:gd name="connsiteX27" fmla="*/ 342784 w 518461"/>
                  <a:gd name="connsiteY27" fmla="*/ 467043 h 574163"/>
                  <a:gd name="connsiteX28" fmla="*/ 278512 w 518461"/>
                  <a:gd name="connsiteY28" fmla="*/ 492752 h 574163"/>
                  <a:gd name="connsiteX29" fmla="*/ 265658 w 518461"/>
                  <a:gd name="connsiteY29" fmla="*/ 574163 h 574163"/>
                  <a:gd name="connsiteX0" fmla="*/ 179527 w 518461"/>
                  <a:gd name="connsiteY0" fmla="*/ 277329 h 574163"/>
                  <a:gd name="connsiteX1" fmla="*/ 179527 w 518461"/>
                  <a:gd name="connsiteY1" fmla="*/ 77425 h 574163"/>
                  <a:gd name="connsiteX2" fmla="*/ 179527 w 518461"/>
                  <a:gd name="connsiteY2" fmla="*/ 77300 h 574163"/>
                  <a:gd name="connsiteX3" fmla="*/ 179962 w 518461"/>
                  <a:gd name="connsiteY3" fmla="*/ 77126 h 574163"/>
                  <a:gd name="connsiteX4" fmla="*/ 188531 w 518461"/>
                  <a:gd name="connsiteY4" fmla="*/ 0 h 574163"/>
                  <a:gd name="connsiteX5" fmla="*/ 269942 w 518461"/>
                  <a:gd name="connsiteY5" fmla="*/ 0 h 574163"/>
                  <a:gd name="connsiteX6" fmla="*/ 278512 w 518461"/>
                  <a:gd name="connsiteY6" fmla="*/ 77126 h 574163"/>
                  <a:gd name="connsiteX7" fmla="*/ 342784 w 518461"/>
                  <a:gd name="connsiteY7" fmla="*/ 102835 h 574163"/>
                  <a:gd name="connsiteX8" fmla="*/ 407056 w 518461"/>
                  <a:gd name="connsiteY8" fmla="*/ 55702 h 574163"/>
                  <a:gd name="connsiteX9" fmla="*/ 458474 w 518461"/>
                  <a:gd name="connsiteY9" fmla="*/ 111405 h 574163"/>
                  <a:gd name="connsiteX10" fmla="*/ 411341 w 518461"/>
                  <a:gd name="connsiteY10" fmla="*/ 175677 h 574163"/>
                  <a:gd name="connsiteX11" fmla="*/ 437050 w 518461"/>
                  <a:gd name="connsiteY11" fmla="*/ 235664 h 574163"/>
                  <a:gd name="connsiteX12" fmla="*/ 518461 w 518461"/>
                  <a:gd name="connsiteY12" fmla="*/ 248518 h 574163"/>
                  <a:gd name="connsiteX13" fmla="*/ 518461 w 518461"/>
                  <a:gd name="connsiteY13" fmla="*/ 325645 h 574163"/>
                  <a:gd name="connsiteX14" fmla="*/ 437050 w 518461"/>
                  <a:gd name="connsiteY14" fmla="*/ 334214 h 574163"/>
                  <a:gd name="connsiteX15" fmla="*/ 411341 w 518461"/>
                  <a:gd name="connsiteY15" fmla="*/ 398486 h 574163"/>
                  <a:gd name="connsiteX16" fmla="*/ 458474 w 518461"/>
                  <a:gd name="connsiteY16" fmla="*/ 462758 h 574163"/>
                  <a:gd name="connsiteX17" fmla="*/ 407056 w 518461"/>
                  <a:gd name="connsiteY17" fmla="*/ 514176 h 574163"/>
                  <a:gd name="connsiteX18" fmla="*/ 342784 w 518461"/>
                  <a:gd name="connsiteY18" fmla="*/ 467043 h 574163"/>
                  <a:gd name="connsiteX19" fmla="*/ 278512 w 518461"/>
                  <a:gd name="connsiteY19" fmla="*/ 492752 h 574163"/>
                  <a:gd name="connsiteX20" fmla="*/ 265658 w 518461"/>
                  <a:gd name="connsiteY20" fmla="*/ 574163 h 574163"/>
                  <a:gd name="connsiteX21" fmla="*/ 188531 w 518461"/>
                  <a:gd name="connsiteY21" fmla="*/ 574163 h 574163"/>
                  <a:gd name="connsiteX22" fmla="*/ 179962 w 518461"/>
                  <a:gd name="connsiteY22" fmla="*/ 492752 h 574163"/>
                  <a:gd name="connsiteX23" fmla="*/ 119974 w 518461"/>
                  <a:gd name="connsiteY23" fmla="*/ 467043 h 574163"/>
                  <a:gd name="connsiteX24" fmla="*/ 55702 w 518461"/>
                  <a:gd name="connsiteY24" fmla="*/ 514176 h 574163"/>
                  <a:gd name="connsiteX25" fmla="*/ 0 w 518461"/>
                  <a:gd name="connsiteY25" fmla="*/ 462758 h 574163"/>
                  <a:gd name="connsiteX26" fmla="*/ 47133 w 518461"/>
                  <a:gd name="connsiteY26" fmla="*/ 398486 h 574163"/>
                  <a:gd name="connsiteX27" fmla="*/ 23693 w 518461"/>
                  <a:gd name="connsiteY27" fmla="*/ 343794 h 574163"/>
                  <a:gd name="connsiteX28" fmla="*/ 120144 w 518461"/>
                  <a:gd name="connsiteY28" fmla="*/ 434591 h 574163"/>
                  <a:gd name="connsiteX0" fmla="*/ 179527 w 518461"/>
                  <a:gd name="connsiteY0" fmla="*/ 277329 h 574163"/>
                  <a:gd name="connsiteX1" fmla="*/ 179527 w 518461"/>
                  <a:gd name="connsiteY1" fmla="*/ 77425 h 574163"/>
                  <a:gd name="connsiteX2" fmla="*/ 179527 w 518461"/>
                  <a:gd name="connsiteY2" fmla="*/ 77300 h 574163"/>
                  <a:gd name="connsiteX3" fmla="*/ 179962 w 518461"/>
                  <a:gd name="connsiteY3" fmla="*/ 77126 h 574163"/>
                  <a:gd name="connsiteX4" fmla="*/ 188531 w 518461"/>
                  <a:gd name="connsiteY4" fmla="*/ 0 h 574163"/>
                  <a:gd name="connsiteX5" fmla="*/ 269942 w 518461"/>
                  <a:gd name="connsiteY5" fmla="*/ 0 h 574163"/>
                  <a:gd name="connsiteX6" fmla="*/ 278512 w 518461"/>
                  <a:gd name="connsiteY6" fmla="*/ 77126 h 574163"/>
                  <a:gd name="connsiteX7" fmla="*/ 342784 w 518461"/>
                  <a:gd name="connsiteY7" fmla="*/ 102835 h 574163"/>
                  <a:gd name="connsiteX8" fmla="*/ 407056 w 518461"/>
                  <a:gd name="connsiteY8" fmla="*/ 55702 h 574163"/>
                  <a:gd name="connsiteX9" fmla="*/ 458474 w 518461"/>
                  <a:gd name="connsiteY9" fmla="*/ 111405 h 574163"/>
                  <a:gd name="connsiteX10" fmla="*/ 411341 w 518461"/>
                  <a:gd name="connsiteY10" fmla="*/ 175677 h 574163"/>
                  <a:gd name="connsiteX11" fmla="*/ 437050 w 518461"/>
                  <a:gd name="connsiteY11" fmla="*/ 235664 h 574163"/>
                  <a:gd name="connsiteX12" fmla="*/ 518461 w 518461"/>
                  <a:gd name="connsiteY12" fmla="*/ 248518 h 574163"/>
                  <a:gd name="connsiteX13" fmla="*/ 518461 w 518461"/>
                  <a:gd name="connsiteY13" fmla="*/ 325645 h 574163"/>
                  <a:gd name="connsiteX14" fmla="*/ 437050 w 518461"/>
                  <a:gd name="connsiteY14" fmla="*/ 334214 h 574163"/>
                  <a:gd name="connsiteX15" fmla="*/ 411341 w 518461"/>
                  <a:gd name="connsiteY15" fmla="*/ 398486 h 574163"/>
                  <a:gd name="connsiteX16" fmla="*/ 458474 w 518461"/>
                  <a:gd name="connsiteY16" fmla="*/ 462758 h 574163"/>
                  <a:gd name="connsiteX17" fmla="*/ 407056 w 518461"/>
                  <a:gd name="connsiteY17" fmla="*/ 514176 h 574163"/>
                  <a:gd name="connsiteX18" fmla="*/ 342784 w 518461"/>
                  <a:gd name="connsiteY18" fmla="*/ 467043 h 574163"/>
                  <a:gd name="connsiteX19" fmla="*/ 278512 w 518461"/>
                  <a:gd name="connsiteY19" fmla="*/ 492752 h 574163"/>
                  <a:gd name="connsiteX20" fmla="*/ 265658 w 518461"/>
                  <a:gd name="connsiteY20" fmla="*/ 574163 h 574163"/>
                  <a:gd name="connsiteX21" fmla="*/ 188531 w 518461"/>
                  <a:gd name="connsiteY21" fmla="*/ 574163 h 574163"/>
                  <a:gd name="connsiteX22" fmla="*/ 179962 w 518461"/>
                  <a:gd name="connsiteY22" fmla="*/ 492752 h 574163"/>
                  <a:gd name="connsiteX23" fmla="*/ 119974 w 518461"/>
                  <a:gd name="connsiteY23" fmla="*/ 467043 h 574163"/>
                  <a:gd name="connsiteX24" fmla="*/ 55702 w 518461"/>
                  <a:gd name="connsiteY24" fmla="*/ 514176 h 574163"/>
                  <a:gd name="connsiteX25" fmla="*/ 0 w 518461"/>
                  <a:gd name="connsiteY25" fmla="*/ 462758 h 574163"/>
                  <a:gd name="connsiteX26" fmla="*/ 47133 w 518461"/>
                  <a:gd name="connsiteY26" fmla="*/ 398486 h 574163"/>
                  <a:gd name="connsiteX27" fmla="*/ 23693 w 518461"/>
                  <a:gd name="connsiteY27" fmla="*/ 343794 h 574163"/>
                  <a:gd name="connsiteX0" fmla="*/ 179527 w 518461"/>
                  <a:gd name="connsiteY0" fmla="*/ 77425 h 574163"/>
                  <a:gd name="connsiteX1" fmla="*/ 179527 w 518461"/>
                  <a:gd name="connsiteY1" fmla="*/ 77300 h 574163"/>
                  <a:gd name="connsiteX2" fmla="*/ 179962 w 518461"/>
                  <a:gd name="connsiteY2" fmla="*/ 77126 h 574163"/>
                  <a:gd name="connsiteX3" fmla="*/ 188531 w 518461"/>
                  <a:gd name="connsiteY3" fmla="*/ 0 h 574163"/>
                  <a:gd name="connsiteX4" fmla="*/ 269942 w 518461"/>
                  <a:gd name="connsiteY4" fmla="*/ 0 h 574163"/>
                  <a:gd name="connsiteX5" fmla="*/ 278512 w 518461"/>
                  <a:gd name="connsiteY5" fmla="*/ 77126 h 574163"/>
                  <a:gd name="connsiteX6" fmla="*/ 342784 w 518461"/>
                  <a:gd name="connsiteY6" fmla="*/ 102835 h 574163"/>
                  <a:gd name="connsiteX7" fmla="*/ 407056 w 518461"/>
                  <a:gd name="connsiteY7" fmla="*/ 55702 h 574163"/>
                  <a:gd name="connsiteX8" fmla="*/ 458474 w 518461"/>
                  <a:gd name="connsiteY8" fmla="*/ 111405 h 574163"/>
                  <a:gd name="connsiteX9" fmla="*/ 411341 w 518461"/>
                  <a:gd name="connsiteY9" fmla="*/ 175677 h 574163"/>
                  <a:gd name="connsiteX10" fmla="*/ 437050 w 518461"/>
                  <a:gd name="connsiteY10" fmla="*/ 235664 h 574163"/>
                  <a:gd name="connsiteX11" fmla="*/ 518461 w 518461"/>
                  <a:gd name="connsiteY11" fmla="*/ 248518 h 574163"/>
                  <a:gd name="connsiteX12" fmla="*/ 518461 w 518461"/>
                  <a:gd name="connsiteY12" fmla="*/ 325645 h 574163"/>
                  <a:gd name="connsiteX13" fmla="*/ 437050 w 518461"/>
                  <a:gd name="connsiteY13" fmla="*/ 334214 h 574163"/>
                  <a:gd name="connsiteX14" fmla="*/ 411341 w 518461"/>
                  <a:gd name="connsiteY14" fmla="*/ 398486 h 574163"/>
                  <a:gd name="connsiteX15" fmla="*/ 458474 w 518461"/>
                  <a:gd name="connsiteY15" fmla="*/ 462758 h 574163"/>
                  <a:gd name="connsiteX16" fmla="*/ 407056 w 518461"/>
                  <a:gd name="connsiteY16" fmla="*/ 514176 h 574163"/>
                  <a:gd name="connsiteX17" fmla="*/ 342784 w 518461"/>
                  <a:gd name="connsiteY17" fmla="*/ 467043 h 574163"/>
                  <a:gd name="connsiteX18" fmla="*/ 278512 w 518461"/>
                  <a:gd name="connsiteY18" fmla="*/ 492752 h 574163"/>
                  <a:gd name="connsiteX19" fmla="*/ 265658 w 518461"/>
                  <a:gd name="connsiteY19" fmla="*/ 574163 h 574163"/>
                  <a:gd name="connsiteX20" fmla="*/ 188531 w 518461"/>
                  <a:gd name="connsiteY20" fmla="*/ 574163 h 574163"/>
                  <a:gd name="connsiteX21" fmla="*/ 179962 w 518461"/>
                  <a:gd name="connsiteY21" fmla="*/ 492752 h 574163"/>
                  <a:gd name="connsiteX22" fmla="*/ 119974 w 518461"/>
                  <a:gd name="connsiteY22" fmla="*/ 467043 h 574163"/>
                  <a:gd name="connsiteX23" fmla="*/ 55702 w 518461"/>
                  <a:gd name="connsiteY23" fmla="*/ 514176 h 574163"/>
                  <a:gd name="connsiteX24" fmla="*/ 0 w 518461"/>
                  <a:gd name="connsiteY24" fmla="*/ 462758 h 574163"/>
                  <a:gd name="connsiteX25" fmla="*/ 47133 w 518461"/>
                  <a:gd name="connsiteY25" fmla="*/ 398486 h 574163"/>
                  <a:gd name="connsiteX26" fmla="*/ 23693 w 518461"/>
                  <a:gd name="connsiteY26" fmla="*/ 343794 h 5741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518461" h="574163">
                    <a:moveTo>
                      <a:pt x="179527" y="77425"/>
                    </a:moveTo>
                    <a:lnTo>
                      <a:pt x="179527" y="77300"/>
                    </a:lnTo>
                    <a:lnTo>
                      <a:pt x="179962" y="77126"/>
                    </a:lnTo>
                    <a:lnTo>
                      <a:pt x="188531" y="0"/>
                    </a:lnTo>
                    <a:lnTo>
                      <a:pt x="269942" y="0"/>
                    </a:lnTo>
                    <a:lnTo>
                      <a:pt x="278512" y="77126"/>
                    </a:lnTo>
                    <a:lnTo>
                      <a:pt x="342784" y="102835"/>
                    </a:lnTo>
                    <a:lnTo>
                      <a:pt x="407056" y="55702"/>
                    </a:lnTo>
                    <a:lnTo>
                      <a:pt x="458474" y="111405"/>
                    </a:lnTo>
                    <a:lnTo>
                      <a:pt x="411341" y="175677"/>
                    </a:lnTo>
                    <a:cubicBezTo>
                      <a:pt x="424196" y="192816"/>
                      <a:pt x="432765" y="214240"/>
                      <a:pt x="437050" y="235664"/>
                    </a:cubicBezTo>
                    <a:lnTo>
                      <a:pt x="518461" y="248518"/>
                    </a:lnTo>
                    <a:lnTo>
                      <a:pt x="518461" y="325645"/>
                    </a:lnTo>
                    <a:lnTo>
                      <a:pt x="437050" y="334214"/>
                    </a:lnTo>
                    <a:cubicBezTo>
                      <a:pt x="432765" y="359923"/>
                      <a:pt x="424196" y="377062"/>
                      <a:pt x="411341" y="398486"/>
                    </a:cubicBezTo>
                    <a:lnTo>
                      <a:pt x="458474" y="462758"/>
                    </a:lnTo>
                    <a:lnTo>
                      <a:pt x="407056" y="514176"/>
                    </a:lnTo>
                    <a:lnTo>
                      <a:pt x="342784" y="467043"/>
                    </a:lnTo>
                    <a:cubicBezTo>
                      <a:pt x="321360" y="479897"/>
                      <a:pt x="299936" y="488467"/>
                      <a:pt x="278512" y="492752"/>
                    </a:cubicBezTo>
                    <a:lnTo>
                      <a:pt x="265658" y="574163"/>
                    </a:lnTo>
                    <a:lnTo>
                      <a:pt x="188531" y="574163"/>
                    </a:lnTo>
                    <a:lnTo>
                      <a:pt x="179962" y="492752"/>
                    </a:lnTo>
                    <a:cubicBezTo>
                      <a:pt x="158538" y="488467"/>
                      <a:pt x="137114" y="479897"/>
                      <a:pt x="119974" y="467043"/>
                    </a:cubicBezTo>
                    <a:lnTo>
                      <a:pt x="55702" y="514176"/>
                    </a:lnTo>
                    <a:lnTo>
                      <a:pt x="0" y="462758"/>
                    </a:lnTo>
                    <a:lnTo>
                      <a:pt x="47133" y="398486"/>
                    </a:lnTo>
                    <a:lnTo>
                      <a:pt x="23693" y="343794"/>
                    </a:lnTo>
                  </a:path>
                </a:pathLst>
              </a:custGeom>
              <a:noFill/>
              <a:ln w="12700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404955"/>
                  </a:solidFill>
                  <a:effectLst/>
                  <a:uLnTx/>
                  <a:uFillTx/>
                  <a:latin typeface="Arial"/>
                </a:endParaRPr>
              </a:p>
            </p:txBody>
          </p:sp>
          <p:sp>
            <p:nvSpPr>
              <p:cNvPr id="17" name="Freihandform: Form 221">
                <a:extLst>
                  <a:ext uri="{FF2B5EF4-FFF2-40B4-BE49-F238E27FC236}">
                    <a16:creationId xmlns:a16="http://schemas.microsoft.com/office/drawing/2014/main" id="{F9735528-10DA-A1B1-A8DF-DA32D44782D2}"/>
                  </a:ext>
                </a:extLst>
              </p:cNvPr>
              <p:cNvSpPr>
                <a:spLocks/>
              </p:cNvSpPr>
              <p:nvPr/>
            </p:nvSpPr>
            <p:spPr bwMode="auto">
              <a:xfrm rot="10800000">
                <a:off x="6212958" y="8728012"/>
                <a:ext cx="203069" cy="205026"/>
              </a:xfrm>
              <a:custGeom>
                <a:avLst/>
                <a:gdLst>
                  <a:gd name="connsiteX0" fmla="*/ 97209 w 203069"/>
                  <a:gd name="connsiteY0" fmla="*/ 205014 h 205026"/>
                  <a:gd name="connsiteX1" fmla="*/ 57709 w 203069"/>
                  <a:gd name="connsiteY1" fmla="*/ 196779 h 205026"/>
                  <a:gd name="connsiteX2" fmla="*/ 3078 w 203069"/>
                  <a:gd name="connsiteY2" fmla="*/ 137863 h 205026"/>
                  <a:gd name="connsiteX3" fmla="*/ 0 w 203069"/>
                  <a:gd name="connsiteY3" fmla="*/ 120425 h 205026"/>
                  <a:gd name="connsiteX4" fmla="*/ 6285 w 203069"/>
                  <a:gd name="connsiteY4" fmla="*/ 117444 h 205026"/>
                  <a:gd name="connsiteX5" fmla="*/ 48704 w 203069"/>
                  <a:gd name="connsiteY5" fmla="*/ 92761 h 205026"/>
                  <a:gd name="connsiteX6" fmla="*/ 48704 w 203069"/>
                  <a:gd name="connsiteY6" fmla="*/ 17351 h 205026"/>
                  <a:gd name="connsiteX7" fmla="*/ 48704 w 203069"/>
                  <a:gd name="connsiteY7" fmla="*/ 14792 h 205026"/>
                  <a:gd name="connsiteX8" fmla="*/ 61994 w 203069"/>
                  <a:gd name="connsiteY8" fmla="*/ 6641 h 205026"/>
                  <a:gd name="connsiteX9" fmla="*/ 143405 w 203069"/>
                  <a:gd name="connsiteY9" fmla="*/ 8248 h 205026"/>
                  <a:gd name="connsiteX10" fmla="*/ 194822 w 203069"/>
                  <a:gd name="connsiteY10" fmla="*/ 145361 h 205026"/>
                  <a:gd name="connsiteX11" fmla="*/ 97209 w 203069"/>
                  <a:gd name="connsiteY11" fmla="*/ 205014 h 205026"/>
                  <a:gd name="connsiteX0" fmla="*/ 97209 w 203069"/>
                  <a:gd name="connsiteY0" fmla="*/ 205014 h 205026"/>
                  <a:gd name="connsiteX1" fmla="*/ 57709 w 203069"/>
                  <a:gd name="connsiteY1" fmla="*/ 196779 h 205026"/>
                  <a:gd name="connsiteX2" fmla="*/ 3078 w 203069"/>
                  <a:gd name="connsiteY2" fmla="*/ 137863 h 205026"/>
                  <a:gd name="connsiteX3" fmla="*/ 0 w 203069"/>
                  <a:gd name="connsiteY3" fmla="*/ 120425 h 205026"/>
                  <a:gd name="connsiteX4" fmla="*/ 6285 w 203069"/>
                  <a:gd name="connsiteY4" fmla="*/ 117444 h 205026"/>
                  <a:gd name="connsiteX5" fmla="*/ 27133 w 203069"/>
                  <a:gd name="connsiteY5" fmla="*/ 110507 h 205026"/>
                  <a:gd name="connsiteX6" fmla="*/ 48704 w 203069"/>
                  <a:gd name="connsiteY6" fmla="*/ 92761 h 205026"/>
                  <a:gd name="connsiteX7" fmla="*/ 48704 w 203069"/>
                  <a:gd name="connsiteY7" fmla="*/ 17351 h 205026"/>
                  <a:gd name="connsiteX8" fmla="*/ 48704 w 203069"/>
                  <a:gd name="connsiteY8" fmla="*/ 14792 h 205026"/>
                  <a:gd name="connsiteX9" fmla="*/ 61994 w 203069"/>
                  <a:gd name="connsiteY9" fmla="*/ 6641 h 205026"/>
                  <a:gd name="connsiteX10" fmla="*/ 143405 w 203069"/>
                  <a:gd name="connsiteY10" fmla="*/ 8248 h 205026"/>
                  <a:gd name="connsiteX11" fmla="*/ 194822 w 203069"/>
                  <a:gd name="connsiteY11" fmla="*/ 145361 h 205026"/>
                  <a:gd name="connsiteX12" fmla="*/ 97209 w 203069"/>
                  <a:gd name="connsiteY12" fmla="*/ 205014 h 205026"/>
                  <a:gd name="connsiteX0" fmla="*/ 97209 w 203069"/>
                  <a:gd name="connsiteY0" fmla="*/ 205014 h 205026"/>
                  <a:gd name="connsiteX1" fmla="*/ 57709 w 203069"/>
                  <a:gd name="connsiteY1" fmla="*/ 196779 h 205026"/>
                  <a:gd name="connsiteX2" fmla="*/ 3078 w 203069"/>
                  <a:gd name="connsiteY2" fmla="*/ 137863 h 205026"/>
                  <a:gd name="connsiteX3" fmla="*/ 0 w 203069"/>
                  <a:gd name="connsiteY3" fmla="*/ 120425 h 205026"/>
                  <a:gd name="connsiteX4" fmla="*/ 6285 w 203069"/>
                  <a:gd name="connsiteY4" fmla="*/ 117444 h 205026"/>
                  <a:gd name="connsiteX5" fmla="*/ 48704 w 203069"/>
                  <a:gd name="connsiteY5" fmla="*/ 92761 h 205026"/>
                  <a:gd name="connsiteX6" fmla="*/ 48704 w 203069"/>
                  <a:gd name="connsiteY6" fmla="*/ 17351 h 205026"/>
                  <a:gd name="connsiteX7" fmla="*/ 48704 w 203069"/>
                  <a:gd name="connsiteY7" fmla="*/ 14792 h 205026"/>
                  <a:gd name="connsiteX8" fmla="*/ 61994 w 203069"/>
                  <a:gd name="connsiteY8" fmla="*/ 6641 h 205026"/>
                  <a:gd name="connsiteX9" fmla="*/ 143405 w 203069"/>
                  <a:gd name="connsiteY9" fmla="*/ 8248 h 205026"/>
                  <a:gd name="connsiteX10" fmla="*/ 194822 w 203069"/>
                  <a:gd name="connsiteY10" fmla="*/ 145361 h 205026"/>
                  <a:gd name="connsiteX11" fmla="*/ 97209 w 203069"/>
                  <a:gd name="connsiteY11" fmla="*/ 205014 h 205026"/>
                  <a:gd name="connsiteX0" fmla="*/ 48704 w 203069"/>
                  <a:gd name="connsiteY0" fmla="*/ 92761 h 208884"/>
                  <a:gd name="connsiteX1" fmla="*/ 48704 w 203069"/>
                  <a:gd name="connsiteY1" fmla="*/ 17351 h 208884"/>
                  <a:gd name="connsiteX2" fmla="*/ 48704 w 203069"/>
                  <a:gd name="connsiteY2" fmla="*/ 14792 h 208884"/>
                  <a:gd name="connsiteX3" fmla="*/ 61994 w 203069"/>
                  <a:gd name="connsiteY3" fmla="*/ 6641 h 208884"/>
                  <a:gd name="connsiteX4" fmla="*/ 143405 w 203069"/>
                  <a:gd name="connsiteY4" fmla="*/ 8248 h 208884"/>
                  <a:gd name="connsiteX5" fmla="*/ 194822 w 203069"/>
                  <a:gd name="connsiteY5" fmla="*/ 145361 h 208884"/>
                  <a:gd name="connsiteX6" fmla="*/ 97209 w 203069"/>
                  <a:gd name="connsiteY6" fmla="*/ 205014 h 208884"/>
                  <a:gd name="connsiteX7" fmla="*/ 57709 w 203069"/>
                  <a:gd name="connsiteY7" fmla="*/ 196779 h 208884"/>
                  <a:gd name="connsiteX8" fmla="*/ 3078 w 203069"/>
                  <a:gd name="connsiteY8" fmla="*/ 137863 h 208884"/>
                  <a:gd name="connsiteX9" fmla="*/ 0 w 203069"/>
                  <a:gd name="connsiteY9" fmla="*/ 120425 h 208884"/>
                  <a:gd name="connsiteX10" fmla="*/ 97725 w 203069"/>
                  <a:gd name="connsiteY10" fmla="*/ 208884 h 208884"/>
                  <a:gd name="connsiteX0" fmla="*/ 48704 w 203069"/>
                  <a:gd name="connsiteY0" fmla="*/ 92761 h 205026"/>
                  <a:gd name="connsiteX1" fmla="*/ 48704 w 203069"/>
                  <a:gd name="connsiteY1" fmla="*/ 17351 h 205026"/>
                  <a:gd name="connsiteX2" fmla="*/ 48704 w 203069"/>
                  <a:gd name="connsiteY2" fmla="*/ 14792 h 205026"/>
                  <a:gd name="connsiteX3" fmla="*/ 61994 w 203069"/>
                  <a:gd name="connsiteY3" fmla="*/ 6641 h 205026"/>
                  <a:gd name="connsiteX4" fmla="*/ 143405 w 203069"/>
                  <a:gd name="connsiteY4" fmla="*/ 8248 h 205026"/>
                  <a:gd name="connsiteX5" fmla="*/ 194822 w 203069"/>
                  <a:gd name="connsiteY5" fmla="*/ 145361 h 205026"/>
                  <a:gd name="connsiteX6" fmla="*/ 97209 w 203069"/>
                  <a:gd name="connsiteY6" fmla="*/ 205014 h 205026"/>
                  <a:gd name="connsiteX7" fmla="*/ 57709 w 203069"/>
                  <a:gd name="connsiteY7" fmla="*/ 196779 h 205026"/>
                  <a:gd name="connsiteX8" fmla="*/ 3078 w 203069"/>
                  <a:gd name="connsiteY8" fmla="*/ 137863 h 205026"/>
                  <a:gd name="connsiteX9" fmla="*/ 0 w 203069"/>
                  <a:gd name="connsiteY9" fmla="*/ 120425 h 205026"/>
                  <a:gd name="connsiteX0" fmla="*/ 48704 w 203069"/>
                  <a:gd name="connsiteY0" fmla="*/ 17351 h 205026"/>
                  <a:gd name="connsiteX1" fmla="*/ 48704 w 203069"/>
                  <a:gd name="connsiteY1" fmla="*/ 14792 h 205026"/>
                  <a:gd name="connsiteX2" fmla="*/ 61994 w 203069"/>
                  <a:gd name="connsiteY2" fmla="*/ 6641 h 205026"/>
                  <a:gd name="connsiteX3" fmla="*/ 143405 w 203069"/>
                  <a:gd name="connsiteY3" fmla="*/ 8248 h 205026"/>
                  <a:gd name="connsiteX4" fmla="*/ 194822 w 203069"/>
                  <a:gd name="connsiteY4" fmla="*/ 145361 h 205026"/>
                  <a:gd name="connsiteX5" fmla="*/ 97209 w 203069"/>
                  <a:gd name="connsiteY5" fmla="*/ 205014 h 205026"/>
                  <a:gd name="connsiteX6" fmla="*/ 57709 w 203069"/>
                  <a:gd name="connsiteY6" fmla="*/ 196779 h 205026"/>
                  <a:gd name="connsiteX7" fmla="*/ 3078 w 203069"/>
                  <a:gd name="connsiteY7" fmla="*/ 137863 h 205026"/>
                  <a:gd name="connsiteX8" fmla="*/ 0 w 203069"/>
                  <a:gd name="connsiteY8" fmla="*/ 120425 h 2050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03069" h="205026">
                    <a:moveTo>
                      <a:pt x="48704" y="17351"/>
                    </a:moveTo>
                    <a:lnTo>
                      <a:pt x="48704" y="14792"/>
                    </a:lnTo>
                    <a:lnTo>
                      <a:pt x="61994" y="6641"/>
                    </a:lnTo>
                    <a:cubicBezTo>
                      <a:pt x="86631" y="-2464"/>
                      <a:pt x="115553" y="-2464"/>
                      <a:pt x="143405" y="8248"/>
                    </a:cubicBezTo>
                    <a:cubicBezTo>
                      <a:pt x="194822" y="29672"/>
                      <a:pt x="216246" y="93944"/>
                      <a:pt x="194822" y="145361"/>
                    </a:cubicBezTo>
                    <a:cubicBezTo>
                      <a:pt x="175540" y="183924"/>
                      <a:pt x="136977" y="205616"/>
                      <a:pt x="97209" y="205014"/>
                    </a:cubicBezTo>
                    <a:cubicBezTo>
                      <a:pt x="83953" y="204813"/>
                      <a:pt x="70563" y="202135"/>
                      <a:pt x="57709" y="196779"/>
                    </a:cubicBezTo>
                    <a:cubicBezTo>
                      <a:pt x="32000" y="183924"/>
                      <a:pt x="12718" y="162500"/>
                      <a:pt x="3078" y="137863"/>
                    </a:cubicBezTo>
                    <a:lnTo>
                      <a:pt x="0" y="120425"/>
                    </a:lnTo>
                  </a:path>
                </a:pathLst>
              </a:custGeom>
              <a:noFill/>
              <a:ln w="12700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404955"/>
                  </a:solidFill>
                  <a:effectLst/>
                  <a:uLnTx/>
                  <a:uFillTx/>
                  <a:latin typeface="Arial"/>
                </a:endParaRPr>
              </a:p>
            </p:txBody>
          </p:sp>
          <p:grpSp>
            <p:nvGrpSpPr>
              <p:cNvPr id="18" name="Gruppieren 214">
                <a:extLst>
                  <a:ext uri="{FF2B5EF4-FFF2-40B4-BE49-F238E27FC236}">
                    <a16:creationId xmlns:a16="http://schemas.microsoft.com/office/drawing/2014/main" id="{A9137283-5900-AC26-1428-DDECA90949B4}"/>
                  </a:ext>
                </a:extLst>
              </p:cNvPr>
              <p:cNvGrpSpPr/>
              <p:nvPr/>
            </p:nvGrpSpPr>
            <p:grpSpPr>
              <a:xfrm>
                <a:off x="6414943" y="8805132"/>
                <a:ext cx="497158" cy="607374"/>
                <a:chOff x="7287896" y="8922786"/>
                <a:chExt cx="497158" cy="607374"/>
              </a:xfrm>
            </p:grpSpPr>
            <p:sp>
              <p:nvSpPr>
                <p:cNvPr id="19" name="Freeform 233">
                  <a:extLst>
                    <a:ext uri="{FF2B5EF4-FFF2-40B4-BE49-F238E27FC236}">
                      <a16:creationId xmlns:a16="http://schemas.microsoft.com/office/drawing/2014/main" id="{D2F237DF-7CCA-4E00-4520-2AF44668ADB2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7287896" y="8922786"/>
                  <a:ext cx="497158" cy="607374"/>
                </a:xfrm>
                <a:custGeom>
                  <a:avLst/>
                  <a:gdLst>
                    <a:gd name="T0" fmla="*/ 44 w 89"/>
                    <a:gd name="T1" fmla="*/ 109 h 109"/>
                    <a:gd name="T2" fmla="*/ 89 w 89"/>
                    <a:gd name="T3" fmla="*/ 55 h 109"/>
                    <a:gd name="T4" fmla="*/ 89 w 89"/>
                    <a:gd name="T5" fmla="*/ 14 h 109"/>
                    <a:gd name="T6" fmla="*/ 44 w 89"/>
                    <a:gd name="T7" fmla="*/ 0 h 109"/>
                    <a:gd name="T8" fmla="*/ 0 w 89"/>
                    <a:gd name="T9" fmla="*/ 14 h 109"/>
                    <a:gd name="T10" fmla="*/ 0 w 89"/>
                    <a:gd name="T11" fmla="*/ 55 h 109"/>
                    <a:gd name="T12" fmla="*/ 44 w 89"/>
                    <a:gd name="T13" fmla="*/ 109 h 10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89" h="109">
                      <a:moveTo>
                        <a:pt x="44" y="109"/>
                      </a:moveTo>
                      <a:cubicBezTo>
                        <a:pt x="44" y="109"/>
                        <a:pt x="89" y="92"/>
                        <a:pt x="89" y="55"/>
                      </a:cubicBezTo>
                      <a:cubicBezTo>
                        <a:pt x="89" y="14"/>
                        <a:pt x="89" y="14"/>
                        <a:pt x="89" y="14"/>
                      </a:cubicBezTo>
                      <a:cubicBezTo>
                        <a:pt x="89" y="14"/>
                        <a:pt x="69" y="0"/>
                        <a:pt x="44" y="0"/>
                      </a:cubicBezTo>
                      <a:cubicBezTo>
                        <a:pt x="20" y="0"/>
                        <a:pt x="0" y="14"/>
                        <a:pt x="0" y="14"/>
                      </a:cubicBezTo>
                      <a:cubicBezTo>
                        <a:pt x="0" y="55"/>
                        <a:pt x="0" y="55"/>
                        <a:pt x="0" y="55"/>
                      </a:cubicBezTo>
                      <a:cubicBezTo>
                        <a:pt x="0" y="92"/>
                        <a:pt x="44" y="109"/>
                        <a:pt x="44" y="109"/>
                      </a:cubicBezTo>
                      <a:close/>
                    </a:path>
                  </a:pathLst>
                </a:custGeom>
                <a:noFill/>
                <a:ln w="12700" cap="flat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0" tIns="0" rIns="0" bIns="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4572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404955"/>
                    </a:solidFill>
                    <a:effectLst/>
                    <a:uLnTx/>
                    <a:uFillTx/>
                    <a:latin typeface="Arial"/>
                  </a:endParaRPr>
                </a:p>
              </p:txBody>
            </p:sp>
            <p:sp>
              <p:nvSpPr>
                <p:cNvPr id="20" name="Freeform 234">
                  <a:extLst>
                    <a:ext uri="{FF2B5EF4-FFF2-40B4-BE49-F238E27FC236}">
                      <a16:creationId xmlns:a16="http://schemas.microsoft.com/office/drawing/2014/main" id="{F7E523A3-9346-C78D-A7EE-FAC7EB6C16FE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7421567" y="9152603"/>
                  <a:ext cx="229818" cy="150085"/>
                </a:xfrm>
                <a:custGeom>
                  <a:avLst/>
                  <a:gdLst>
                    <a:gd name="T0" fmla="*/ 98 w 98"/>
                    <a:gd name="T1" fmla="*/ 0 h 64"/>
                    <a:gd name="T2" fmla="*/ 67 w 98"/>
                    <a:gd name="T3" fmla="*/ 33 h 64"/>
                    <a:gd name="T4" fmla="*/ 34 w 98"/>
                    <a:gd name="T5" fmla="*/ 64 h 64"/>
                    <a:gd name="T6" fmla="*/ 0 w 98"/>
                    <a:gd name="T7" fmla="*/ 33 h 6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98" h="64">
                      <a:moveTo>
                        <a:pt x="98" y="0"/>
                      </a:moveTo>
                      <a:lnTo>
                        <a:pt x="67" y="33"/>
                      </a:lnTo>
                      <a:lnTo>
                        <a:pt x="34" y="64"/>
                      </a:lnTo>
                      <a:lnTo>
                        <a:pt x="0" y="33"/>
                      </a:lnTo>
                    </a:path>
                  </a:pathLst>
                </a:custGeom>
                <a:noFill/>
                <a:ln w="12700" cap="rnd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0" tIns="0" rIns="0" bIns="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4572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404955"/>
                    </a:solidFill>
                    <a:effectLst/>
                    <a:uLnTx/>
                    <a:uFillTx/>
                    <a:latin typeface="Arial"/>
                  </a:endParaRPr>
                </a:p>
              </p:txBody>
            </p:sp>
          </p:grpSp>
        </p:grpSp>
      </p:grpSp>
      <p:grpSp>
        <p:nvGrpSpPr>
          <p:cNvPr id="54" name="Group 53">
            <a:extLst>
              <a:ext uri="{FF2B5EF4-FFF2-40B4-BE49-F238E27FC236}">
                <a16:creationId xmlns:a16="http://schemas.microsoft.com/office/drawing/2014/main" id="{98E6BA03-FE4C-3B27-0017-09AB77857815}"/>
              </a:ext>
            </a:extLst>
          </p:cNvPr>
          <p:cNvGrpSpPr/>
          <p:nvPr/>
        </p:nvGrpSpPr>
        <p:grpSpPr>
          <a:xfrm>
            <a:off x="686700" y="2421294"/>
            <a:ext cx="3885299" cy="749328"/>
            <a:chOff x="686700" y="2348903"/>
            <a:chExt cx="3885299" cy="749328"/>
          </a:xfrm>
        </p:grpSpPr>
        <p:sp>
          <p:nvSpPr>
            <p:cNvPr id="10" name="Rectangle 24">
              <a:extLst>
                <a:ext uri="{FF2B5EF4-FFF2-40B4-BE49-F238E27FC236}">
                  <a16:creationId xmlns:a16="http://schemas.microsoft.com/office/drawing/2014/main" id="{797D9035-8081-999F-8534-994D7D0B147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86700" y="2348903"/>
              <a:ext cx="1357999" cy="749328"/>
            </a:xfrm>
            <a:prstGeom prst="rect">
              <a:avLst/>
            </a:prstGeom>
            <a:solidFill>
              <a:schemeClr val="accent6"/>
            </a:solidFill>
            <a:ln w="6350">
              <a:noFill/>
              <a:round/>
              <a:headEnd/>
              <a:tailEnd/>
            </a:ln>
            <a:effectLst/>
          </p:spPr>
          <p:txBody>
            <a:bodyPr lIns="504000" tIns="72000" rIns="36000" bIns="72000" anchor="ctr"/>
            <a:lstStyle/>
            <a:p>
              <a:pPr defTabSz="995363">
                <a:spcAft>
                  <a:spcPct val="0"/>
                </a:spcAft>
              </a:pPr>
              <a:r>
                <a:rPr lang="en-GB" sz="1300" b="1" kern="0" dirty="0">
                  <a:solidFill>
                    <a:schemeClr val="bg1"/>
                  </a:solidFill>
                  <a:latin typeface="Arial" pitchFamily="34" charset="0"/>
                </a:rPr>
                <a:t>GENDER</a:t>
              </a:r>
            </a:p>
          </p:txBody>
        </p:sp>
        <p:sp>
          <p:nvSpPr>
            <p:cNvPr id="12" name="Rectangle 3">
              <a:extLst>
                <a:ext uri="{FF2B5EF4-FFF2-40B4-BE49-F238E27FC236}">
                  <a16:creationId xmlns:a16="http://schemas.microsoft.com/office/drawing/2014/main" id="{71330348-7F58-BA3F-8DBC-BF109309FD8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171700" y="2348903"/>
              <a:ext cx="2400299" cy="749328"/>
            </a:xfrm>
            <a:prstGeom prst="rect">
              <a:avLst/>
            </a:prstGeom>
            <a:solidFill>
              <a:schemeClr val="accent4">
                <a:lumMod val="20000"/>
                <a:lumOff val="80000"/>
              </a:schemeClr>
            </a:solidFill>
            <a:ln w="6350" algn="ctr">
              <a:noFill/>
              <a:miter lim="800000"/>
              <a:headEnd/>
              <a:tailEnd/>
            </a:ln>
            <a:effectLst/>
          </p:spPr>
          <p:txBody>
            <a:bodyPr lIns="108000" tIns="72000" rIns="36000" bIns="72000" anchor="ctr" anchorCtr="0"/>
            <a:lstStyle/>
            <a:p>
              <a:pPr marL="0" lvl="1" defTabSz="685800">
                <a:lnSpc>
                  <a:spcPct val="120000"/>
                </a:lnSpc>
              </a:pPr>
              <a:r>
                <a:rPr lang="en-GB" sz="1100" b="1" dirty="0">
                  <a:ea typeface="Arial" panose="020B0604020202020204" pitchFamily="34" charset="0"/>
                  <a:cs typeface="Arial"/>
                </a:rPr>
                <a:t>up to two (2) female candidates for </a:t>
              </a:r>
              <a:r>
                <a:rPr lang="en-GB" sz="1100" b="1" dirty="0">
                  <a:effectLst/>
                  <a:ea typeface="Arial" panose="020B0604020202020204" pitchFamily="34" charset="0"/>
                  <a:cs typeface="Arial"/>
                </a:rPr>
                <a:t>the </a:t>
              </a:r>
              <a:r>
                <a:rPr lang="en-GB" sz="1100" b="1" dirty="0">
                  <a:ea typeface="Arial" panose="020B0604020202020204" pitchFamily="34" charset="0"/>
                  <a:cs typeface="Arial"/>
                </a:rPr>
                <a:t>comprehensive CSP support over 3 years</a:t>
              </a:r>
              <a:endParaRPr lang="en-US" sz="1100" dirty="0"/>
            </a:p>
          </p:txBody>
        </p:sp>
        <p:grpSp>
          <p:nvGrpSpPr>
            <p:cNvPr id="21" name="Gruppieren 8">
              <a:extLst>
                <a:ext uri="{FF2B5EF4-FFF2-40B4-BE49-F238E27FC236}">
                  <a16:creationId xmlns:a16="http://schemas.microsoft.com/office/drawing/2014/main" id="{770852DB-A25C-3860-AEDF-E1363F3C8615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773981" y="2543567"/>
              <a:ext cx="327137" cy="324000"/>
              <a:chOff x="1099909" y="864959"/>
              <a:chExt cx="2885173" cy="2857500"/>
            </a:xfrm>
          </p:grpSpPr>
          <p:sp>
            <p:nvSpPr>
              <p:cNvPr id="22" name="Ellipse 9">
                <a:extLst>
                  <a:ext uri="{FF2B5EF4-FFF2-40B4-BE49-F238E27FC236}">
                    <a16:creationId xmlns:a16="http://schemas.microsoft.com/office/drawing/2014/main" id="{3F75C867-44B7-571D-C097-2B81F907D8F7}"/>
                  </a:ext>
                </a:extLst>
              </p:cNvPr>
              <p:cNvSpPr/>
              <p:nvPr/>
            </p:nvSpPr>
            <p:spPr>
              <a:xfrm>
                <a:off x="1099909" y="864959"/>
                <a:ext cx="1445082" cy="1445082"/>
              </a:xfrm>
              <a:prstGeom prst="ellipse">
                <a:avLst/>
              </a:prstGeom>
              <a:noFill/>
              <a:ln w="12700" cap="rnd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 kern="1200" dirty="0">
                  <a:solidFill>
                    <a:schemeClr val="tx1"/>
                  </a:solidFill>
                  <a:latin typeface="+mn-lt"/>
                  <a:ea typeface="+mn-ea"/>
                  <a:cs typeface="+mn-cs"/>
                </a:endParaRPr>
              </a:p>
            </p:txBody>
          </p:sp>
          <p:cxnSp>
            <p:nvCxnSpPr>
              <p:cNvPr id="23" name="Gerader Verbinder 10">
                <a:extLst>
                  <a:ext uri="{FF2B5EF4-FFF2-40B4-BE49-F238E27FC236}">
                    <a16:creationId xmlns:a16="http://schemas.microsoft.com/office/drawing/2014/main" id="{E618573A-E930-3394-75BA-F93C315FD65C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822450" y="2310041"/>
                <a:ext cx="0" cy="1112609"/>
              </a:xfrm>
              <a:prstGeom prst="line">
                <a:avLst/>
              </a:prstGeom>
              <a:noFill/>
              <a:ln w="12700" cap="rnd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24" name="Gerader Verbinder 11">
                <a:extLst>
                  <a:ext uri="{FF2B5EF4-FFF2-40B4-BE49-F238E27FC236}">
                    <a16:creationId xmlns:a16="http://schemas.microsoft.com/office/drawing/2014/main" id="{B8CB1BE4-B99A-DF8A-10D8-2FDEE5B61E8B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1391898" y="3004172"/>
                <a:ext cx="861105" cy="0"/>
              </a:xfrm>
              <a:prstGeom prst="line">
                <a:avLst/>
              </a:prstGeom>
              <a:noFill/>
              <a:ln w="12700" cap="rnd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grpSp>
            <p:nvGrpSpPr>
              <p:cNvPr id="25" name="Gruppieren 12">
                <a:extLst>
                  <a:ext uri="{FF2B5EF4-FFF2-40B4-BE49-F238E27FC236}">
                    <a16:creationId xmlns:a16="http://schemas.microsoft.com/office/drawing/2014/main" id="{A25C55A7-A100-1EB5-004F-1B86E5EB8960}"/>
                  </a:ext>
                </a:extLst>
              </p:cNvPr>
              <p:cNvGrpSpPr/>
              <p:nvPr/>
            </p:nvGrpSpPr>
            <p:grpSpPr>
              <a:xfrm rot="10800000">
                <a:off x="2540000" y="1164768"/>
                <a:ext cx="1445082" cy="2557691"/>
                <a:chOff x="1252309" y="1017359"/>
                <a:chExt cx="1445082" cy="2557691"/>
              </a:xfrm>
            </p:grpSpPr>
            <p:sp>
              <p:nvSpPr>
                <p:cNvPr id="26" name="Ellipse 13">
                  <a:extLst>
                    <a:ext uri="{FF2B5EF4-FFF2-40B4-BE49-F238E27FC236}">
                      <a16:creationId xmlns:a16="http://schemas.microsoft.com/office/drawing/2014/main" id="{F73FAFEF-A352-8D67-699B-0CC3FDA19619}"/>
                    </a:ext>
                  </a:extLst>
                </p:cNvPr>
                <p:cNvSpPr/>
                <p:nvPr/>
              </p:nvSpPr>
              <p:spPr>
                <a:xfrm>
                  <a:off x="1252309" y="1017359"/>
                  <a:ext cx="1445082" cy="1445082"/>
                </a:xfrm>
                <a:prstGeom prst="ellipse">
                  <a:avLst/>
                </a:prstGeom>
                <a:noFill/>
                <a:ln w="12700" cap="rnd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 sz="1800" kern="1200" dirty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endParaRPr>
                </a:p>
              </p:txBody>
            </p:sp>
            <p:cxnSp>
              <p:nvCxnSpPr>
                <p:cNvPr id="27" name="Gerader Verbinder 19">
                  <a:extLst>
                    <a:ext uri="{FF2B5EF4-FFF2-40B4-BE49-F238E27FC236}">
                      <a16:creationId xmlns:a16="http://schemas.microsoft.com/office/drawing/2014/main" id="{0CF1C3CF-4FD7-54D5-01E7-218241CEAA1D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1974850" y="2462441"/>
                  <a:ext cx="0" cy="1112609"/>
                </a:xfrm>
                <a:prstGeom prst="line">
                  <a:avLst/>
                </a:prstGeom>
                <a:noFill/>
                <a:ln w="12700" cap="rnd">
                  <a:solidFill>
                    <a:schemeClr val="bg1"/>
                  </a:solidFill>
                  <a:tailEnd type="arrow" w="sm" len="sm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</p:cxnSp>
          </p:grpSp>
        </p:grpSp>
      </p:grpSp>
      <p:grpSp>
        <p:nvGrpSpPr>
          <p:cNvPr id="53" name="Group 52">
            <a:extLst>
              <a:ext uri="{FF2B5EF4-FFF2-40B4-BE49-F238E27FC236}">
                <a16:creationId xmlns:a16="http://schemas.microsoft.com/office/drawing/2014/main" id="{0961B3BC-BE98-F4F1-ED54-99749A5E7C59}"/>
              </a:ext>
            </a:extLst>
          </p:cNvPr>
          <p:cNvGrpSpPr/>
          <p:nvPr/>
        </p:nvGrpSpPr>
        <p:grpSpPr>
          <a:xfrm>
            <a:off x="686700" y="3363034"/>
            <a:ext cx="3885300" cy="814642"/>
            <a:chOff x="686700" y="3218254"/>
            <a:chExt cx="3885300" cy="749328"/>
          </a:xfrm>
        </p:grpSpPr>
        <p:sp>
          <p:nvSpPr>
            <p:cNvPr id="13" name="Rectangle 25">
              <a:extLst>
                <a:ext uri="{FF2B5EF4-FFF2-40B4-BE49-F238E27FC236}">
                  <a16:creationId xmlns:a16="http://schemas.microsoft.com/office/drawing/2014/main" id="{72F68011-DD81-65FF-EB2F-806161524E3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86700" y="3218254"/>
              <a:ext cx="1357999" cy="749328"/>
            </a:xfrm>
            <a:prstGeom prst="rect">
              <a:avLst/>
            </a:prstGeom>
            <a:solidFill>
              <a:schemeClr val="accent2"/>
            </a:solidFill>
            <a:ln w="6350">
              <a:noFill/>
              <a:round/>
              <a:headEnd/>
              <a:tailEnd/>
            </a:ln>
            <a:effectLst/>
          </p:spPr>
          <p:txBody>
            <a:bodyPr lIns="504000" tIns="72000" rIns="36000" bIns="72000" anchor="ctr"/>
            <a:lstStyle/>
            <a:p>
              <a:pPr defTabSz="995363">
                <a:spcAft>
                  <a:spcPct val="0"/>
                </a:spcAft>
              </a:pPr>
              <a:r>
                <a:rPr lang="en-GB" sz="1300" b="1" kern="0" dirty="0">
                  <a:solidFill>
                    <a:schemeClr val="bg1"/>
                  </a:solidFill>
                  <a:latin typeface="Arial"/>
                  <a:cs typeface="Arial"/>
                </a:rPr>
                <a:t>ACCESS</a:t>
              </a:r>
              <a:endParaRPr lang="en-GB" sz="1300" b="1" kern="0" dirty="0">
                <a:solidFill>
                  <a:schemeClr val="bg1"/>
                </a:solidFill>
                <a:latin typeface="Arial" pitchFamily="34" charset="0"/>
                <a:cs typeface="Arial"/>
              </a:endParaRPr>
            </a:p>
          </p:txBody>
        </p:sp>
        <p:sp>
          <p:nvSpPr>
            <p:cNvPr id="14" name="Rectangle 3">
              <a:extLst>
                <a:ext uri="{FF2B5EF4-FFF2-40B4-BE49-F238E27FC236}">
                  <a16:creationId xmlns:a16="http://schemas.microsoft.com/office/drawing/2014/main" id="{E24BB2DD-1FCF-14C4-1798-5076AF6973F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171700" y="3218254"/>
              <a:ext cx="2400300" cy="749328"/>
            </a:xfrm>
            <a:prstGeom prst="rect">
              <a:avLst/>
            </a:prstGeom>
            <a:solidFill>
              <a:schemeClr val="accent4">
                <a:lumMod val="20000"/>
                <a:lumOff val="80000"/>
              </a:schemeClr>
            </a:solidFill>
            <a:ln w="6350" algn="ctr">
              <a:noFill/>
              <a:miter lim="800000"/>
              <a:headEnd/>
              <a:tailEnd/>
            </a:ln>
            <a:effectLst/>
          </p:spPr>
          <p:txBody>
            <a:bodyPr lIns="108000" tIns="72000" rIns="36000" bIns="72000" anchor="ctr" anchorCtr="0"/>
            <a:lstStyle/>
            <a:p>
              <a:pPr marL="0" lvl="1" defTabSz="685800">
                <a:lnSpc>
                  <a:spcPct val="120000"/>
                </a:lnSpc>
              </a:pPr>
              <a:r>
                <a:rPr lang="en-GB" sz="1100" b="1" dirty="0">
                  <a:cs typeface="Arial"/>
                </a:rPr>
                <a:t>up to three (3) candidates per quality and gender pillar for the full EQE fee support, for one sitting each</a:t>
              </a:r>
            </a:p>
          </p:txBody>
        </p:sp>
        <p:grpSp>
          <p:nvGrpSpPr>
            <p:cNvPr id="38" name="Group 37">
              <a:extLst>
                <a:ext uri="{FF2B5EF4-FFF2-40B4-BE49-F238E27FC236}">
                  <a16:creationId xmlns:a16="http://schemas.microsoft.com/office/drawing/2014/main" id="{FD4735D9-D374-5880-3631-E8A35A57B4A3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780415" y="3432954"/>
              <a:ext cx="331200" cy="396141"/>
              <a:chOff x="7998777" y="2021165"/>
              <a:chExt cx="976468" cy="1167932"/>
            </a:xfrm>
          </p:grpSpPr>
          <p:sp>
            <p:nvSpPr>
              <p:cNvPr id="39" name="Freeform 240">
                <a:extLst>
                  <a:ext uri="{FF2B5EF4-FFF2-40B4-BE49-F238E27FC236}">
                    <a16:creationId xmlns:a16="http://schemas.microsoft.com/office/drawing/2014/main" id="{294D0480-23A4-8CEF-F55A-8B9DEEFB7E5B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7998777" y="2217415"/>
                <a:ext cx="540991" cy="822590"/>
              </a:xfrm>
              <a:custGeom>
                <a:avLst/>
                <a:gdLst>
                  <a:gd name="T0" fmla="*/ 27 w 100"/>
                  <a:gd name="T1" fmla="*/ 0 h 95"/>
                  <a:gd name="T2" fmla="*/ 10 w 100"/>
                  <a:gd name="T3" fmla="*/ 0 h 95"/>
                  <a:gd name="T4" fmla="*/ 0 w 100"/>
                  <a:gd name="T5" fmla="*/ 10 h 95"/>
                  <a:gd name="T6" fmla="*/ 0 w 100"/>
                  <a:gd name="T7" fmla="*/ 85 h 95"/>
                  <a:gd name="T8" fmla="*/ 10 w 100"/>
                  <a:gd name="T9" fmla="*/ 95 h 95"/>
                  <a:gd name="T10" fmla="*/ 100 w 100"/>
                  <a:gd name="T11" fmla="*/ 95 h 95"/>
                  <a:gd name="connsiteX0" fmla="*/ 2700 w 10792"/>
                  <a:gd name="connsiteY0" fmla="*/ 0 h 10000"/>
                  <a:gd name="connsiteX1" fmla="*/ 1000 w 10792"/>
                  <a:gd name="connsiteY1" fmla="*/ 0 h 10000"/>
                  <a:gd name="connsiteX2" fmla="*/ 0 w 10792"/>
                  <a:gd name="connsiteY2" fmla="*/ 1053 h 10000"/>
                  <a:gd name="connsiteX3" fmla="*/ 0 w 10792"/>
                  <a:gd name="connsiteY3" fmla="*/ 8947 h 10000"/>
                  <a:gd name="connsiteX4" fmla="*/ 1000 w 10792"/>
                  <a:gd name="connsiteY4" fmla="*/ 10000 h 10000"/>
                  <a:gd name="connsiteX5" fmla="*/ 10792 w 10792"/>
                  <a:gd name="connsiteY5" fmla="*/ 9981 h 1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0792" h="10000">
                    <a:moveTo>
                      <a:pt x="2700" y="0"/>
                    </a:moveTo>
                    <a:lnTo>
                      <a:pt x="1000" y="0"/>
                    </a:lnTo>
                    <a:cubicBezTo>
                      <a:pt x="500" y="0"/>
                      <a:pt x="0" y="421"/>
                      <a:pt x="0" y="1053"/>
                    </a:cubicBezTo>
                    <a:lnTo>
                      <a:pt x="0" y="8947"/>
                    </a:lnTo>
                    <a:cubicBezTo>
                      <a:pt x="0" y="9474"/>
                      <a:pt x="500" y="10000"/>
                      <a:pt x="1000" y="10000"/>
                    </a:cubicBezTo>
                    <a:lnTo>
                      <a:pt x="10792" y="9981"/>
                    </a:lnTo>
                  </a:path>
                </a:pathLst>
              </a:custGeom>
              <a:noFill/>
              <a:ln w="12700" cap="flat">
                <a:solidFill>
                  <a:schemeClr val="bg1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</a:bodyPr>
              <a:lstStyle/>
              <a:p>
                <a:pPr defTabSz="457200"/>
                <a:endParaRPr lang="en-GB" kern="0" dirty="0">
                  <a:solidFill>
                    <a:srgbClr val="404955"/>
                  </a:solidFill>
                  <a:latin typeface="Arial"/>
                </a:endParaRPr>
              </a:p>
            </p:txBody>
          </p:sp>
          <p:sp>
            <p:nvSpPr>
              <p:cNvPr id="40" name="Freeform 241">
                <a:extLst>
                  <a:ext uri="{FF2B5EF4-FFF2-40B4-BE49-F238E27FC236}">
                    <a16:creationId xmlns:a16="http://schemas.microsoft.com/office/drawing/2014/main" id="{5EFEBCE8-4AC6-626B-8647-010C35CC0ED1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8134146" y="2021165"/>
                <a:ext cx="683190" cy="823084"/>
              </a:xfrm>
              <a:custGeom>
                <a:avLst/>
                <a:gdLst>
                  <a:gd name="T0" fmla="*/ 136 w 136"/>
                  <a:gd name="T1" fmla="*/ 49 h 95"/>
                  <a:gd name="T2" fmla="*/ 136 w 136"/>
                  <a:gd name="T3" fmla="*/ 10 h 95"/>
                  <a:gd name="T4" fmla="*/ 126 w 136"/>
                  <a:gd name="T5" fmla="*/ 0 h 95"/>
                  <a:gd name="T6" fmla="*/ 11 w 136"/>
                  <a:gd name="T7" fmla="*/ 0 h 95"/>
                  <a:gd name="T8" fmla="*/ 0 w 136"/>
                  <a:gd name="T9" fmla="*/ 10 h 95"/>
                  <a:gd name="T10" fmla="*/ 0 w 136"/>
                  <a:gd name="T11" fmla="*/ 85 h 95"/>
                  <a:gd name="T12" fmla="*/ 11 w 136"/>
                  <a:gd name="T13" fmla="*/ 95 h 95"/>
                  <a:gd name="T14" fmla="*/ 68 w 136"/>
                  <a:gd name="T15" fmla="*/ 95 h 95"/>
                  <a:gd name="connsiteX0" fmla="*/ 9954 w 10041"/>
                  <a:gd name="connsiteY0" fmla="*/ 7230 h 10006"/>
                  <a:gd name="connsiteX1" fmla="*/ 10000 w 10041"/>
                  <a:gd name="connsiteY1" fmla="*/ 1059 h 10006"/>
                  <a:gd name="connsiteX2" fmla="*/ 9265 w 10041"/>
                  <a:gd name="connsiteY2" fmla="*/ 6 h 10006"/>
                  <a:gd name="connsiteX3" fmla="*/ 809 w 10041"/>
                  <a:gd name="connsiteY3" fmla="*/ 6 h 10006"/>
                  <a:gd name="connsiteX4" fmla="*/ 0 w 10041"/>
                  <a:gd name="connsiteY4" fmla="*/ 1059 h 10006"/>
                  <a:gd name="connsiteX5" fmla="*/ 0 w 10041"/>
                  <a:gd name="connsiteY5" fmla="*/ 8953 h 10006"/>
                  <a:gd name="connsiteX6" fmla="*/ 809 w 10041"/>
                  <a:gd name="connsiteY6" fmla="*/ 10006 h 10006"/>
                  <a:gd name="connsiteX7" fmla="*/ 5000 w 10041"/>
                  <a:gd name="connsiteY7" fmla="*/ 10006 h 10006"/>
                  <a:gd name="connsiteX0" fmla="*/ 9954 w 10000"/>
                  <a:gd name="connsiteY0" fmla="*/ 7230 h 10006"/>
                  <a:gd name="connsiteX1" fmla="*/ 10000 w 10000"/>
                  <a:gd name="connsiteY1" fmla="*/ 1059 h 10006"/>
                  <a:gd name="connsiteX2" fmla="*/ 9265 w 10000"/>
                  <a:gd name="connsiteY2" fmla="*/ 6 h 10006"/>
                  <a:gd name="connsiteX3" fmla="*/ 809 w 10000"/>
                  <a:gd name="connsiteY3" fmla="*/ 6 h 10006"/>
                  <a:gd name="connsiteX4" fmla="*/ 0 w 10000"/>
                  <a:gd name="connsiteY4" fmla="*/ 1059 h 10006"/>
                  <a:gd name="connsiteX5" fmla="*/ 0 w 10000"/>
                  <a:gd name="connsiteY5" fmla="*/ 8953 h 10006"/>
                  <a:gd name="connsiteX6" fmla="*/ 809 w 10000"/>
                  <a:gd name="connsiteY6" fmla="*/ 10006 h 10006"/>
                  <a:gd name="connsiteX7" fmla="*/ 5000 w 10000"/>
                  <a:gd name="connsiteY7" fmla="*/ 10006 h 10006"/>
                  <a:gd name="connsiteX0" fmla="*/ 9954 w 10000"/>
                  <a:gd name="connsiteY0" fmla="*/ 8398 h 10006"/>
                  <a:gd name="connsiteX1" fmla="*/ 10000 w 10000"/>
                  <a:gd name="connsiteY1" fmla="*/ 1059 h 10006"/>
                  <a:gd name="connsiteX2" fmla="*/ 9265 w 10000"/>
                  <a:gd name="connsiteY2" fmla="*/ 6 h 10006"/>
                  <a:gd name="connsiteX3" fmla="*/ 809 w 10000"/>
                  <a:gd name="connsiteY3" fmla="*/ 6 h 10006"/>
                  <a:gd name="connsiteX4" fmla="*/ 0 w 10000"/>
                  <a:gd name="connsiteY4" fmla="*/ 1059 h 10006"/>
                  <a:gd name="connsiteX5" fmla="*/ 0 w 10000"/>
                  <a:gd name="connsiteY5" fmla="*/ 8953 h 10006"/>
                  <a:gd name="connsiteX6" fmla="*/ 809 w 10000"/>
                  <a:gd name="connsiteY6" fmla="*/ 10006 h 10006"/>
                  <a:gd name="connsiteX7" fmla="*/ 5000 w 10000"/>
                  <a:gd name="connsiteY7" fmla="*/ 10006 h 10006"/>
                  <a:gd name="connsiteX0" fmla="*/ 9954 w 10041"/>
                  <a:gd name="connsiteY0" fmla="*/ 8398 h 10006"/>
                  <a:gd name="connsiteX1" fmla="*/ 9948 w 10041"/>
                  <a:gd name="connsiteY1" fmla="*/ 6983 h 10006"/>
                  <a:gd name="connsiteX2" fmla="*/ 10000 w 10041"/>
                  <a:gd name="connsiteY2" fmla="*/ 1059 h 10006"/>
                  <a:gd name="connsiteX3" fmla="*/ 9265 w 10041"/>
                  <a:gd name="connsiteY3" fmla="*/ 6 h 10006"/>
                  <a:gd name="connsiteX4" fmla="*/ 809 w 10041"/>
                  <a:gd name="connsiteY4" fmla="*/ 6 h 10006"/>
                  <a:gd name="connsiteX5" fmla="*/ 0 w 10041"/>
                  <a:gd name="connsiteY5" fmla="*/ 1059 h 10006"/>
                  <a:gd name="connsiteX6" fmla="*/ 0 w 10041"/>
                  <a:gd name="connsiteY6" fmla="*/ 8953 h 10006"/>
                  <a:gd name="connsiteX7" fmla="*/ 809 w 10041"/>
                  <a:gd name="connsiteY7" fmla="*/ 10006 h 10006"/>
                  <a:gd name="connsiteX8" fmla="*/ 5000 w 10041"/>
                  <a:gd name="connsiteY8" fmla="*/ 10006 h 10006"/>
                  <a:gd name="connsiteX0" fmla="*/ 9954 w 10000"/>
                  <a:gd name="connsiteY0" fmla="*/ 8398 h 10006"/>
                  <a:gd name="connsiteX1" fmla="*/ 9948 w 10000"/>
                  <a:gd name="connsiteY1" fmla="*/ 6983 h 10006"/>
                  <a:gd name="connsiteX2" fmla="*/ 10000 w 10000"/>
                  <a:gd name="connsiteY2" fmla="*/ 1059 h 10006"/>
                  <a:gd name="connsiteX3" fmla="*/ 9265 w 10000"/>
                  <a:gd name="connsiteY3" fmla="*/ 6 h 10006"/>
                  <a:gd name="connsiteX4" fmla="*/ 809 w 10000"/>
                  <a:gd name="connsiteY4" fmla="*/ 6 h 10006"/>
                  <a:gd name="connsiteX5" fmla="*/ 0 w 10000"/>
                  <a:gd name="connsiteY5" fmla="*/ 1059 h 10006"/>
                  <a:gd name="connsiteX6" fmla="*/ 0 w 10000"/>
                  <a:gd name="connsiteY6" fmla="*/ 8953 h 10006"/>
                  <a:gd name="connsiteX7" fmla="*/ 809 w 10000"/>
                  <a:gd name="connsiteY7" fmla="*/ 10006 h 10006"/>
                  <a:gd name="connsiteX8" fmla="*/ 5000 w 10000"/>
                  <a:gd name="connsiteY8" fmla="*/ 10006 h 10006"/>
                  <a:gd name="connsiteX0" fmla="*/ 9948 w 10000"/>
                  <a:gd name="connsiteY0" fmla="*/ 6983 h 10006"/>
                  <a:gd name="connsiteX1" fmla="*/ 10000 w 10000"/>
                  <a:gd name="connsiteY1" fmla="*/ 1059 h 10006"/>
                  <a:gd name="connsiteX2" fmla="*/ 9265 w 10000"/>
                  <a:gd name="connsiteY2" fmla="*/ 6 h 10006"/>
                  <a:gd name="connsiteX3" fmla="*/ 809 w 10000"/>
                  <a:gd name="connsiteY3" fmla="*/ 6 h 10006"/>
                  <a:gd name="connsiteX4" fmla="*/ 0 w 10000"/>
                  <a:gd name="connsiteY4" fmla="*/ 1059 h 10006"/>
                  <a:gd name="connsiteX5" fmla="*/ 0 w 10000"/>
                  <a:gd name="connsiteY5" fmla="*/ 8953 h 10006"/>
                  <a:gd name="connsiteX6" fmla="*/ 809 w 10000"/>
                  <a:gd name="connsiteY6" fmla="*/ 10006 h 10006"/>
                  <a:gd name="connsiteX7" fmla="*/ 5000 w 10000"/>
                  <a:gd name="connsiteY7" fmla="*/ 10006 h 100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0000" h="10006">
                    <a:moveTo>
                      <a:pt x="9948" y="6983"/>
                    </a:moveTo>
                    <a:cubicBezTo>
                      <a:pt x="9965" y="5008"/>
                      <a:pt x="9983" y="3034"/>
                      <a:pt x="10000" y="1059"/>
                    </a:cubicBezTo>
                    <a:cubicBezTo>
                      <a:pt x="9885" y="-145"/>
                      <a:pt x="9706" y="6"/>
                      <a:pt x="9265" y="6"/>
                    </a:cubicBezTo>
                    <a:lnTo>
                      <a:pt x="809" y="6"/>
                    </a:lnTo>
                    <a:cubicBezTo>
                      <a:pt x="368" y="6"/>
                      <a:pt x="0" y="427"/>
                      <a:pt x="0" y="1059"/>
                    </a:cubicBezTo>
                    <a:lnTo>
                      <a:pt x="0" y="8953"/>
                    </a:lnTo>
                    <a:cubicBezTo>
                      <a:pt x="0" y="9480"/>
                      <a:pt x="368" y="10006"/>
                      <a:pt x="809" y="10006"/>
                    </a:cubicBezTo>
                    <a:lnTo>
                      <a:pt x="5000" y="10006"/>
                    </a:lnTo>
                  </a:path>
                </a:pathLst>
              </a:custGeom>
              <a:noFill/>
              <a:ln w="12700" cap="flat">
                <a:solidFill>
                  <a:schemeClr val="bg1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</a:bodyPr>
              <a:lstStyle/>
              <a:p>
                <a:pPr defTabSz="457200"/>
                <a:endParaRPr lang="en-GB" kern="0" dirty="0">
                  <a:solidFill>
                    <a:srgbClr val="404955"/>
                  </a:solidFill>
                  <a:latin typeface="Arial"/>
                </a:endParaRPr>
              </a:p>
            </p:txBody>
          </p:sp>
          <p:grpSp>
            <p:nvGrpSpPr>
              <p:cNvPr id="41" name="Gruppieren 234">
                <a:extLst>
                  <a:ext uri="{FF2B5EF4-FFF2-40B4-BE49-F238E27FC236}">
                    <a16:creationId xmlns:a16="http://schemas.microsoft.com/office/drawing/2014/main" id="{15F79D69-BB9D-050F-9010-D4BF8D92F2D6}"/>
                  </a:ext>
                </a:extLst>
              </p:cNvPr>
              <p:cNvGrpSpPr/>
              <p:nvPr/>
            </p:nvGrpSpPr>
            <p:grpSpPr>
              <a:xfrm>
                <a:off x="8241091" y="2132689"/>
                <a:ext cx="496069" cy="586741"/>
                <a:chOff x="231646" y="1768582"/>
                <a:chExt cx="159265" cy="188375"/>
              </a:xfrm>
            </p:grpSpPr>
            <p:sp>
              <p:nvSpPr>
                <p:cNvPr id="44" name="Rectangle 228">
                  <a:extLst>
                    <a:ext uri="{FF2B5EF4-FFF2-40B4-BE49-F238E27FC236}">
                      <a16:creationId xmlns:a16="http://schemas.microsoft.com/office/drawing/2014/main" id="{27BC6195-6554-00E6-370F-196402EE238D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231647" y="1768582"/>
                  <a:ext cx="33269" cy="36397"/>
                </a:xfrm>
                <a:prstGeom prst="rect">
                  <a:avLst/>
                </a:prstGeom>
                <a:noFill/>
                <a:ln w="12700" cap="flat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0" tIns="0" rIns="0" bIns="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457200"/>
                  <a:endParaRPr lang="en-GB" kern="0" dirty="0">
                    <a:solidFill>
                      <a:srgbClr val="404955"/>
                    </a:solidFill>
                    <a:latin typeface="Arial"/>
                  </a:endParaRPr>
                </a:p>
              </p:txBody>
            </p:sp>
            <p:sp>
              <p:nvSpPr>
                <p:cNvPr id="45" name="Line 229">
                  <a:extLst>
                    <a:ext uri="{FF2B5EF4-FFF2-40B4-BE49-F238E27FC236}">
                      <a16:creationId xmlns:a16="http://schemas.microsoft.com/office/drawing/2014/main" id="{5379ED1A-67E7-1058-D073-73E46DDE3118}"/>
                    </a:ext>
                  </a:extLst>
                </p:cNvPr>
                <p:cNvSpPr>
                  <a:spLocks noChangeAspect="1" noChangeShapeType="1"/>
                </p:cNvSpPr>
                <p:nvPr/>
              </p:nvSpPr>
              <p:spPr bwMode="auto">
                <a:xfrm>
                  <a:off x="345609" y="1781473"/>
                  <a:ext cx="45302" cy="0"/>
                </a:xfrm>
                <a:prstGeom prst="line">
                  <a:avLst/>
                </a:prstGeom>
                <a:noFill/>
                <a:ln w="12700" cap="flat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0" tIns="0" rIns="0" bIns="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457200"/>
                  <a:endParaRPr lang="en-GB" kern="0" dirty="0">
                    <a:solidFill>
                      <a:srgbClr val="404955"/>
                    </a:solidFill>
                    <a:latin typeface="Arial"/>
                  </a:endParaRPr>
                </a:p>
              </p:txBody>
            </p:sp>
            <p:sp>
              <p:nvSpPr>
                <p:cNvPr id="46" name="Line 230">
                  <a:extLst>
                    <a:ext uri="{FF2B5EF4-FFF2-40B4-BE49-F238E27FC236}">
                      <a16:creationId xmlns:a16="http://schemas.microsoft.com/office/drawing/2014/main" id="{671889E7-47A6-0E7C-92E8-E171865A2E82}"/>
                    </a:ext>
                  </a:extLst>
                </p:cNvPr>
                <p:cNvSpPr>
                  <a:spLocks noChangeAspect="1" noChangeShapeType="1"/>
                </p:cNvSpPr>
                <p:nvPr/>
              </p:nvSpPr>
              <p:spPr bwMode="auto">
                <a:xfrm>
                  <a:off x="231646" y="1872321"/>
                  <a:ext cx="153601" cy="0"/>
                </a:xfrm>
                <a:prstGeom prst="line">
                  <a:avLst/>
                </a:prstGeom>
                <a:noFill/>
                <a:ln w="12700" cap="flat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0" tIns="0" rIns="0" bIns="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457200"/>
                  <a:endParaRPr lang="en-GB" kern="0" dirty="0">
                    <a:solidFill>
                      <a:srgbClr val="404955"/>
                    </a:solidFill>
                    <a:latin typeface="Arial"/>
                  </a:endParaRPr>
                </a:p>
              </p:txBody>
            </p:sp>
            <p:sp>
              <p:nvSpPr>
                <p:cNvPr id="47" name="Line 231">
                  <a:extLst>
                    <a:ext uri="{FF2B5EF4-FFF2-40B4-BE49-F238E27FC236}">
                      <a16:creationId xmlns:a16="http://schemas.microsoft.com/office/drawing/2014/main" id="{27B2968D-D5A4-FD5D-48E6-C53C613131C9}"/>
                    </a:ext>
                  </a:extLst>
                </p:cNvPr>
                <p:cNvSpPr>
                  <a:spLocks noChangeAspect="1" noChangeShapeType="1"/>
                </p:cNvSpPr>
                <p:nvPr/>
              </p:nvSpPr>
              <p:spPr bwMode="auto">
                <a:xfrm>
                  <a:off x="276948" y="1830002"/>
                  <a:ext cx="21943" cy="0"/>
                </a:xfrm>
                <a:prstGeom prst="line">
                  <a:avLst/>
                </a:prstGeom>
                <a:noFill/>
                <a:ln w="12700" cap="flat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0" tIns="0" rIns="0" bIns="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457200"/>
                  <a:endParaRPr lang="en-GB" kern="0" dirty="0">
                    <a:solidFill>
                      <a:srgbClr val="404955"/>
                    </a:solidFill>
                    <a:latin typeface="Arial"/>
                  </a:endParaRPr>
                </a:p>
              </p:txBody>
            </p:sp>
            <p:sp>
              <p:nvSpPr>
                <p:cNvPr id="48" name="Line 232">
                  <a:extLst>
                    <a:ext uri="{FF2B5EF4-FFF2-40B4-BE49-F238E27FC236}">
                      <a16:creationId xmlns:a16="http://schemas.microsoft.com/office/drawing/2014/main" id="{D4A41D87-0D8F-CACB-4C65-A56FA4006759}"/>
                    </a:ext>
                  </a:extLst>
                </p:cNvPr>
                <p:cNvSpPr>
                  <a:spLocks noChangeAspect="1" noChangeShapeType="1"/>
                </p:cNvSpPr>
                <p:nvPr/>
              </p:nvSpPr>
              <p:spPr bwMode="auto">
                <a:xfrm>
                  <a:off x="231647" y="1830002"/>
                  <a:ext cx="21943" cy="0"/>
                </a:xfrm>
                <a:prstGeom prst="line">
                  <a:avLst/>
                </a:prstGeom>
                <a:noFill/>
                <a:ln w="12700" cap="flat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0" tIns="0" rIns="0" bIns="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457200"/>
                  <a:endParaRPr lang="en-GB" kern="0" dirty="0">
                    <a:solidFill>
                      <a:srgbClr val="404955"/>
                    </a:solidFill>
                    <a:latin typeface="Arial"/>
                  </a:endParaRPr>
                </a:p>
              </p:txBody>
            </p:sp>
            <p:sp>
              <p:nvSpPr>
                <p:cNvPr id="49" name="Line 230">
                  <a:extLst>
                    <a:ext uri="{FF2B5EF4-FFF2-40B4-BE49-F238E27FC236}">
                      <a16:creationId xmlns:a16="http://schemas.microsoft.com/office/drawing/2014/main" id="{E32BC556-7799-9458-182E-1D6586760E06}"/>
                    </a:ext>
                  </a:extLst>
                </p:cNvPr>
                <p:cNvSpPr>
                  <a:spLocks noChangeAspect="1" noChangeShapeType="1"/>
                </p:cNvSpPr>
                <p:nvPr/>
              </p:nvSpPr>
              <p:spPr bwMode="auto">
                <a:xfrm>
                  <a:off x="231647" y="1914639"/>
                  <a:ext cx="87065" cy="0"/>
                </a:xfrm>
                <a:prstGeom prst="line">
                  <a:avLst/>
                </a:prstGeom>
                <a:noFill/>
                <a:ln w="12700" cap="flat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0" tIns="0" rIns="0" bIns="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457200"/>
                  <a:endParaRPr lang="en-GB" kern="0" dirty="0">
                    <a:solidFill>
                      <a:srgbClr val="404955"/>
                    </a:solidFill>
                    <a:latin typeface="Arial"/>
                  </a:endParaRPr>
                </a:p>
              </p:txBody>
            </p:sp>
            <p:sp>
              <p:nvSpPr>
                <p:cNvPr id="50" name="Line 230">
                  <a:extLst>
                    <a:ext uri="{FF2B5EF4-FFF2-40B4-BE49-F238E27FC236}">
                      <a16:creationId xmlns:a16="http://schemas.microsoft.com/office/drawing/2014/main" id="{8C2732F0-F843-8868-C65E-14FDA2FF6B8E}"/>
                    </a:ext>
                  </a:extLst>
                </p:cNvPr>
                <p:cNvSpPr>
                  <a:spLocks noChangeAspect="1" noChangeShapeType="1"/>
                </p:cNvSpPr>
                <p:nvPr/>
              </p:nvSpPr>
              <p:spPr bwMode="auto">
                <a:xfrm>
                  <a:off x="231647" y="1956957"/>
                  <a:ext cx="45302" cy="0"/>
                </a:xfrm>
                <a:prstGeom prst="line">
                  <a:avLst/>
                </a:prstGeom>
                <a:noFill/>
                <a:ln w="12700" cap="flat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0" tIns="0" rIns="0" bIns="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457200"/>
                  <a:endParaRPr lang="en-GB" kern="0" dirty="0">
                    <a:solidFill>
                      <a:srgbClr val="404955"/>
                    </a:solidFill>
                    <a:latin typeface="Arial"/>
                  </a:endParaRPr>
                </a:p>
              </p:txBody>
            </p:sp>
          </p:grpSp>
          <p:sp>
            <p:nvSpPr>
              <p:cNvPr id="42" name="Free-form: Shape 72">
                <a:extLst>
                  <a:ext uri="{FF2B5EF4-FFF2-40B4-BE49-F238E27FC236}">
                    <a16:creationId xmlns:a16="http://schemas.microsoft.com/office/drawing/2014/main" id="{52003A45-7B92-2AF2-4E53-21CD4178C270}"/>
                  </a:ext>
                </a:extLst>
              </p:cNvPr>
              <p:cNvSpPr/>
              <p:nvPr/>
            </p:nvSpPr>
            <p:spPr>
              <a:xfrm>
                <a:off x="8512279" y="2615769"/>
                <a:ext cx="462966" cy="573328"/>
              </a:xfrm>
              <a:custGeom>
                <a:avLst/>
                <a:gdLst>
                  <a:gd name="connsiteX0" fmla="*/ 231483 w 462966"/>
                  <a:gd name="connsiteY0" fmla="*/ 0 h 573328"/>
                  <a:gd name="connsiteX1" fmla="*/ 276417 w 462966"/>
                  <a:gd name="connsiteY1" fmla="*/ 63786 h 573328"/>
                  <a:gd name="connsiteX2" fmla="*/ 347225 w 462966"/>
                  <a:gd name="connsiteY2" fmla="*/ 31013 h 573328"/>
                  <a:gd name="connsiteX3" fmla="*/ 354245 w 462966"/>
                  <a:gd name="connsiteY3" fmla="*/ 108721 h 573328"/>
                  <a:gd name="connsiteX4" fmla="*/ 431953 w 462966"/>
                  <a:gd name="connsiteY4" fmla="*/ 115742 h 573328"/>
                  <a:gd name="connsiteX5" fmla="*/ 399180 w 462966"/>
                  <a:gd name="connsiteY5" fmla="*/ 186549 h 573328"/>
                  <a:gd name="connsiteX6" fmla="*/ 462966 w 462966"/>
                  <a:gd name="connsiteY6" fmla="*/ 231483 h 573328"/>
                  <a:gd name="connsiteX7" fmla="*/ 399180 w 462966"/>
                  <a:gd name="connsiteY7" fmla="*/ 276417 h 573328"/>
                  <a:gd name="connsiteX8" fmla="*/ 431953 w 462966"/>
                  <a:gd name="connsiteY8" fmla="*/ 347225 h 573328"/>
                  <a:gd name="connsiteX9" fmla="*/ 354245 w 462966"/>
                  <a:gd name="connsiteY9" fmla="*/ 354245 h 573328"/>
                  <a:gd name="connsiteX10" fmla="*/ 353409 w 462966"/>
                  <a:gd name="connsiteY10" fmla="*/ 363502 h 573328"/>
                  <a:gd name="connsiteX11" fmla="*/ 405066 w 462966"/>
                  <a:gd name="connsiteY11" fmla="*/ 549900 h 573328"/>
                  <a:gd name="connsiteX12" fmla="*/ 335442 w 462966"/>
                  <a:gd name="connsiteY12" fmla="*/ 518038 h 573328"/>
                  <a:gd name="connsiteX13" fmla="*/ 290616 w 462966"/>
                  <a:gd name="connsiteY13" fmla="*/ 573328 h 573328"/>
                  <a:gd name="connsiteX14" fmla="*/ 251171 w 462966"/>
                  <a:gd name="connsiteY14" fmla="*/ 435018 h 573328"/>
                  <a:gd name="connsiteX15" fmla="*/ 231483 w 462966"/>
                  <a:gd name="connsiteY15" fmla="*/ 462966 h 573328"/>
                  <a:gd name="connsiteX16" fmla="*/ 211796 w 462966"/>
                  <a:gd name="connsiteY16" fmla="*/ 435019 h 573328"/>
                  <a:gd name="connsiteX17" fmla="*/ 172351 w 462966"/>
                  <a:gd name="connsiteY17" fmla="*/ 573328 h 573328"/>
                  <a:gd name="connsiteX18" fmla="*/ 127525 w 462966"/>
                  <a:gd name="connsiteY18" fmla="*/ 518038 h 573328"/>
                  <a:gd name="connsiteX19" fmla="*/ 57901 w 462966"/>
                  <a:gd name="connsiteY19" fmla="*/ 549900 h 573328"/>
                  <a:gd name="connsiteX20" fmla="*/ 109558 w 462966"/>
                  <a:gd name="connsiteY20" fmla="*/ 363504 h 573328"/>
                  <a:gd name="connsiteX21" fmla="*/ 108721 w 462966"/>
                  <a:gd name="connsiteY21" fmla="*/ 354245 h 573328"/>
                  <a:gd name="connsiteX22" fmla="*/ 31013 w 462966"/>
                  <a:gd name="connsiteY22" fmla="*/ 347225 h 573328"/>
                  <a:gd name="connsiteX23" fmla="*/ 63786 w 462966"/>
                  <a:gd name="connsiteY23" fmla="*/ 276417 h 573328"/>
                  <a:gd name="connsiteX24" fmla="*/ 0 w 462966"/>
                  <a:gd name="connsiteY24" fmla="*/ 231483 h 573328"/>
                  <a:gd name="connsiteX25" fmla="*/ 63786 w 462966"/>
                  <a:gd name="connsiteY25" fmla="*/ 186549 h 573328"/>
                  <a:gd name="connsiteX26" fmla="*/ 31013 w 462966"/>
                  <a:gd name="connsiteY26" fmla="*/ 115742 h 573328"/>
                  <a:gd name="connsiteX27" fmla="*/ 108721 w 462966"/>
                  <a:gd name="connsiteY27" fmla="*/ 108721 h 573328"/>
                  <a:gd name="connsiteX28" fmla="*/ 115742 w 462966"/>
                  <a:gd name="connsiteY28" fmla="*/ 31013 h 573328"/>
                  <a:gd name="connsiteX29" fmla="*/ 186549 w 462966"/>
                  <a:gd name="connsiteY29" fmla="*/ 63786 h 5733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</a:cxnLst>
                <a:rect l="l" t="t" r="r" b="b"/>
                <a:pathLst>
                  <a:path w="462966" h="573328">
                    <a:moveTo>
                      <a:pt x="231483" y="0"/>
                    </a:moveTo>
                    <a:lnTo>
                      <a:pt x="276417" y="63786"/>
                    </a:lnTo>
                    <a:lnTo>
                      <a:pt x="347225" y="31013"/>
                    </a:lnTo>
                    <a:lnTo>
                      <a:pt x="354245" y="108721"/>
                    </a:lnTo>
                    <a:lnTo>
                      <a:pt x="431953" y="115742"/>
                    </a:lnTo>
                    <a:lnTo>
                      <a:pt x="399180" y="186549"/>
                    </a:lnTo>
                    <a:lnTo>
                      <a:pt x="462966" y="231483"/>
                    </a:lnTo>
                    <a:lnTo>
                      <a:pt x="399180" y="276417"/>
                    </a:lnTo>
                    <a:lnTo>
                      <a:pt x="431953" y="347225"/>
                    </a:lnTo>
                    <a:lnTo>
                      <a:pt x="354245" y="354245"/>
                    </a:lnTo>
                    <a:lnTo>
                      <a:pt x="353409" y="363502"/>
                    </a:lnTo>
                    <a:lnTo>
                      <a:pt x="405066" y="549900"/>
                    </a:lnTo>
                    <a:lnTo>
                      <a:pt x="335442" y="518038"/>
                    </a:lnTo>
                    <a:lnTo>
                      <a:pt x="290616" y="573328"/>
                    </a:lnTo>
                    <a:lnTo>
                      <a:pt x="251171" y="435018"/>
                    </a:lnTo>
                    <a:lnTo>
                      <a:pt x="231483" y="462966"/>
                    </a:lnTo>
                    <a:lnTo>
                      <a:pt x="211796" y="435019"/>
                    </a:lnTo>
                    <a:lnTo>
                      <a:pt x="172351" y="573328"/>
                    </a:lnTo>
                    <a:lnTo>
                      <a:pt x="127525" y="518038"/>
                    </a:lnTo>
                    <a:lnTo>
                      <a:pt x="57901" y="549900"/>
                    </a:lnTo>
                    <a:lnTo>
                      <a:pt x="109558" y="363504"/>
                    </a:lnTo>
                    <a:lnTo>
                      <a:pt x="108721" y="354245"/>
                    </a:lnTo>
                    <a:lnTo>
                      <a:pt x="31013" y="347225"/>
                    </a:lnTo>
                    <a:lnTo>
                      <a:pt x="63786" y="276417"/>
                    </a:lnTo>
                    <a:lnTo>
                      <a:pt x="0" y="231483"/>
                    </a:lnTo>
                    <a:lnTo>
                      <a:pt x="63786" y="186549"/>
                    </a:lnTo>
                    <a:lnTo>
                      <a:pt x="31013" y="115742"/>
                    </a:lnTo>
                    <a:lnTo>
                      <a:pt x="108721" y="108721"/>
                    </a:lnTo>
                    <a:lnTo>
                      <a:pt x="115742" y="31013"/>
                    </a:lnTo>
                    <a:lnTo>
                      <a:pt x="186549" y="63786"/>
                    </a:lnTo>
                    <a:close/>
                  </a:path>
                </a:pathLst>
              </a:custGeom>
              <a:noFill/>
              <a:ln w="12700" cap="flat">
                <a:solidFill>
                  <a:schemeClr val="bg1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</a:bodyPr>
              <a:lstStyle/>
              <a:p>
                <a:pPr defTabSz="457200"/>
                <a:endParaRPr lang="en-GB" kern="0" dirty="0">
                  <a:solidFill>
                    <a:srgbClr val="404955"/>
                  </a:solidFill>
                  <a:latin typeface="Arial"/>
                </a:endParaRPr>
              </a:p>
            </p:txBody>
          </p:sp>
          <p:sp>
            <p:nvSpPr>
              <p:cNvPr id="43" name="Freeform 234">
                <a:extLst>
                  <a:ext uri="{FF2B5EF4-FFF2-40B4-BE49-F238E27FC236}">
                    <a16:creationId xmlns:a16="http://schemas.microsoft.com/office/drawing/2014/main" id="{A5168501-C944-C6EC-6059-CB6BD2864C11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8665722" y="2774295"/>
                <a:ext cx="179435" cy="172055"/>
              </a:xfrm>
              <a:custGeom>
                <a:avLst/>
                <a:gdLst>
                  <a:gd name="T0" fmla="*/ 98 w 98"/>
                  <a:gd name="T1" fmla="*/ 0 h 64"/>
                  <a:gd name="T2" fmla="*/ 67 w 98"/>
                  <a:gd name="T3" fmla="*/ 33 h 64"/>
                  <a:gd name="T4" fmla="*/ 34 w 98"/>
                  <a:gd name="T5" fmla="*/ 64 h 64"/>
                  <a:gd name="T6" fmla="*/ 0 w 98"/>
                  <a:gd name="T7" fmla="*/ 33 h 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98" h="64">
                    <a:moveTo>
                      <a:pt x="98" y="0"/>
                    </a:moveTo>
                    <a:lnTo>
                      <a:pt x="67" y="33"/>
                    </a:lnTo>
                    <a:lnTo>
                      <a:pt x="34" y="64"/>
                    </a:lnTo>
                    <a:lnTo>
                      <a:pt x="0" y="33"/>
                    </a:lnTo>
                  </a:path>
                </a:pathLst>
              </a:custGeom>
              <a:noFill/>
              <a:ln w="12700" cap="flat">
                <a:solidFill>
                  <a:schemeClr val="bg1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</a:bodyPr>
              <a:lstStyle/>
              <a:p>
                <a:pPr defTabSz="457200"/>
                <a:endParaRPr lang="en-GB" kern="0" dirty="0">
                  <a:solidFill>
                    <a:srgbClr val="404955"/>
                  </a:solidFill>
                  <a:latin typeface="Arial"/>
                </a:endParaRPr>
              </a:p>
            </p:txBody>
          </p:sp>
        </p:grpSp>
      </p:grpSp>
      <p:sp>
        <p:nvSpPr>
          <p:cNvPr id="56" name="Rectangle 55">
            <a:extLst>
              <a:ext uri="{FF2B5EF4-FFF2-40B4-BE49-F238E27FC236}">
                <a16:creationId xmlns:a16="http://schemas.microsoft.com/office/drawing/2014/main" id="{15631195-6E0C-57B5-28BF-B6C0E9F81D6A}"/>
              </a:ext>
            </a:extLst>
          </p:cNvPr>
          <p:cNvSpPr/>
          <p:nvPr/>
        </p:nvSpPr>
        <p:spPr>
          <a:xfrm>
            <a:off x="920751" y="4298456"/>
            <a:ext cx="321469" cy="32146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7903530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67548DF-0B0D-5A70-C98D-C9E28AC011A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wo Forms of SUPPORT FOR EQE SUCCESS</a:t>
            </a:r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DECCF6A-8A94-A797-06D2-A91CA6E7FF6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CANDIDATE SUPPORT PROGRAMME (CSP – EQE)</a:t>
            </a:r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D508A9B-3724-8689-1901-6ADAE62E543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EAC15D-B94B-4B86-ABD3-3EDECDB333F5}" type="slidenum">
              <a:rPr lang="de-DE" smtClean="0"/>
              <a:pPr/>
              <a:t>4</a:t>
            </a:fld>
            <a:endParaRPr lang="de-DE" dirty="0"/>
          </a:p>
        </p:txBody>
      </p:sp>
      <p:sp>
        <p:nvSpPr>
          <p:cNvPr id="47" name="Content Placeholder 46" hidden="1">
            <a:extLst>
              <a:ext uri="{FF2B5EF4-FFF2-40B4-BE49-F238E27FC236}">
                <a16:creationId xmlns:a16="http://schemas.microsoft.com/office/drawing/2014/main" id="{418F259E-9704-9AF2-4615-CEE5B0B69133}"/>
              </a:ext>
            </a:extLst>
          </p:cNvPr>
          <p:cNvSpPr>
            <a:spLocks noGrp="1"/>
          </p:cNvSpPr>
          <p:nvPr>
            <p:ph idx="1"/>
            <p:custDataLst>
              <p:tags r:id="rId1"/>
            </p:custDataLst>
          </p:nvPr>
        </p:nvSpPr>
        <p:spPr/>
        <p:txBody>
          <a:bodyPr/>
          <a:lstStyle/>
          <a:p>
            <a:endParaRPr lang="en-GB" dirty="0"/>
          </a:p>
        </p:txBody>
      </p:sp>
      <p:grpSp>
        <p:nvGrpSpPr>
          <p:cNvPr id="105" name="Group 104">
            <a:extLst>
              <a:ext uri="{FF2B5EF4-FFF2-40B4-BE49-F238E27FC236}">
                <a16:creationId xmlns:a16="http://schemas.microsoft.com/office/drawing/2014/main" id="{56342246-3828-D868-624B-9966A2976D6B}"/>
              </a:ext>
            </a:extLst>
          </p:cNvPr>
          <p:cNvGrpSpPr/>
          <p:nvPr/>
        </p:nvGrpSpPr>
        <p:grpSpPr>
          <a:xfrm>
            <a:off x="689081" y="1502413"/>
            <a:ext cx="8043714" cy="3077843"/>
            <a:chOff x="689081" y="1502413"/>
            <a:chExt cx="8043714" cy="3077843"/>
          </a:xfrm>
        </p:grpSpPr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7AA41A38-3127-C824-8AD5-978BA6AD009C}"/>
                </a:ext>
              </a:extLst>
            </p:cNvPr>
            <p:cNvGrpSpPr/>
            <p:nvPr/>
          </p:nvGrpSpPr>
          <p:grpSpPr>
            <a:xfrm>
              <a:off x="689081" y="1505680"/>
              <a:ext cx="3830517" cy="2407195"/>
              <a:chOff x="681461" y="2122900"/>
              <a:chExt cx="3830517" cy="2407195"/>
            </a:xfrm>
          </p:grpSpPr>
          <p:grpSp>
            <p:nvGrpSpPr>
              <p:cNvPr id="81" name="Group 80">
                <a:extLst>
                  <a:ext uri="{FF2B5EF4-FFF2-40B4-BE49-F238E27FC236}">
                    <a16:creationId xmlns:a16="http://schemas.microsoft.com/office/drawing/2014/main" id="{A138FDF2-6629-E321-F225-A1D0CE07DA69}"/>
                  </a:ext>
                </a:extLst>
              </p:cNvPr>
              <p:cNvGrpSpPr/>
              <p:nvPr/>
            </p:nvGrpSpPr>
            <p:grpSpPr>
              <a:xfrm>
                <a:off x="689081" y="2718902"/>
                <a:ext cx="3822897" cy="1811193"/>
                <a:chOff x="4962576" y="1958890"/>
                <a:chExt cx="3822897" cy="1811193"/>
              </a:xfrm>
            </p:grpSpPr>
            <p:sp>
              <p:nvSpPr>
                <p:cNvPr id="85" name="Arrow: Left-Right 24">
                  <a:extLst>
                    <a:ext uri="{FF2B5EF4-FFF2-40B4-BE49-F238E27FC236}">
                      <a16:creationId xmlns:a16="http://schemas.microsoft.com/office/drawing/2014/main" id="{8077E411-380A-D3C5-5DB7-9E807D2119E5}"/>
                    </a:ext>
                  </a:extLst>
                </p:cNvPr>
                <p:cNvSpPr/>
                <p:nvPr/>
              </p:nvSpPr>
              <p:spPr>
                <a:xfrm>
                  <a:off x="4962576" y="2163998"/>
                  <a:ext cx="3822897" cy="119564"/>
                </a:xfrm>
                <a:prstGeom prst="leftRightArrow">
                  <a:avLst>
                    <a:gd name="adj1" fmla="val 50000"/>
                    <a:gd name="adj2" fmla="val 50000"/>
                  </a:avLst>
                </a:prstGeom>
                <a:solidFill>
                  <a:schemeClr val="accent4"/>
                </a:solidFill>
                <a:ln w="9525">
                  <a:noFill/>
                </a:ln>
              </p:spPr>
              <p:style>
                <a:lnRef idx="2">
                  <a:schemeClr val="lt1">
                    <a:hueOff val="0"/>
                    <a:satOff val="0"/>
                    <a:lumOff val="0"/>
                    <a:alphaOff val="0"/>
                  </a:schemeClr>
                </a:lnRef>
                <a:fillRef idx="1">
                  <a:schemeClr val="accent1">
                    <a:tint val="60000"/>
                    <a:hueOff val="0"/>
                    <a:satOff val="0"/>
                    <a:lumOff val="0"/>
                    <a:alphaOff val="0"/>
                  </a:schemeClr>
                </a:fillRef>
                <a:effectRef idx="0">
                  <a:schemeClr val="accent1">
                    <a:tint val="60000"/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dk1">
                    <a:hueOff val="0"/>
                    <a:satOff val="0"/>
                    <a:lumOff val="0"/>
                    <a:alphaOff val="0"/>
                  </a:schemeClr>
                </a:fontRef>
              </p:style>
              <p:txBody>
                <a:bodyPr/>
                <a:lstStyle/>
                <a:p>
                  <a:endParaRPr lang="en-GB" dirty="0"/>
                </a:p>
              </p:txBody>
            </p:sp>
            <p:sp>
              <p:nvSpPr>
                <p:cNvPr id="86" name="Oval 10" descr="Whistle outline">
                  <a:extLst>
                    <a:ext uri="{FF2B5EF4-FFF2-40B4-BE49-F238E27FC236}">
                      <a16:creationId xmlns:a16="http://schemas.microsoft.com/office/drawing/2014/main" id="{B40E271A-B0EE-814E-DF2C-1EF14DF5F7D2}"/>
                    </a:ext>
                  </a:extLst>
                </p:cNvPr>
                <p:cNvSpPr/>
                <p:nvPr/>
              </p:nvSpPr>
              <p:spPr>
                <a:xfrm>
                  <a:off x="5095245" y="1958890"/>
                  <a:ext cx="529781" cy="529781"/>
                </a:xfrm>
                <a:prstGeom prst="ellipse">
                  <a:avLst/>
                </a:prstGeom>
                <a:solidFill>
                  <a:srgbClr val="FFFFFF"/>
                </a:solidFill>
                <a:ln>
                  <a:solidFill>
                    <a:schemeClr val="accent4"/>
                  </a:solidFill>
                </a:ln>
              </p:spPr>
              <p:style>
                <a:lnRef idx="2">
                  <a:schemeClr val="lt1">
                    <a:hueOff val="0"/>
                    <a:satOff val="0"/>
                    <a:lumOff val="0"/>
                    <a:alphaOff val="0"/>
                  </a:schemeClr>
                </a:lnRef>
                <a:fillRef idx="1">
                  <a:scrgbClr r="0" g="0" b="0"/>
                </a:fillRef>
                <a:effectRef idx="0">
                  <a:schemeClr val="accent1">
                    <a:tint val="50000"/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lt1">
                    <a:hueOff val="0"/>
                    <a:satOff val="0"/>
                    <a:lumOff val="0"/>
                    <a:alphaOff val="0"/>
                  </a:schemeClr>
                </a:fontRef>
              </p:style>
              <p:txBody>
                <a:bodyPr/>
                <a:lstStyle/>
                <a:p>
                  <a:endParaRPr lang="en-GB" dirty="0"/>
                </a:p>
              </p:txBody>
            </p:sp>
            <p:pic>
              <p:nvPicPr>
                <p:cNvPr id="87" name="Graphic 29" descr="Whistle outline">
                  <a:extLst>
                    <a:ext uri="{FF2B5EF4-FFF2-40B4-BE49-F238E27FC236}">
                      <a16:creationId xmlns:a16="http://schemas.microsoft.com/office/drawing/2014/main" id="{89270665-A9E8-2B1E-40C4-945A794EA7AE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159216" y="2022862"/>
                  <a:ext cx="401838" cy="401838"/>
                </a:xfrm>
                <a:prstGeom prst="rect">
                  <a:avLst/>
                </a:prstGeom>
              </p:spPr>
            </p:pic>
            <p:grpSp>
              <p:nvGrpSpPr>
                <p:cNvPr id="88" name="Group 87">
                  <a:extLst>
                    <a:ext uri="{FF2B5EF4-FFF2-40B4-BE49-F238E27FC236}">
                      <a16:creationId xmlns:a16="http://schemas.microsoft.com/office/drawing/2014/main" id="{40341EA1-8D44-35A2-F835-12F56D51C37F}"/>
                    </a:ext>
                  </a:extLst>
                </p:cNvPr>
                <p:cNvGrpSpPr/>
                <p:nvPr/>
              </p:nvGrpSpPr>
              <p:grpSpPr>
                <a:xfrm>
                  <a:off x="5852190" y="1958890"/>
                  <a:ext cx="529781" cy="529781"/>
                  <a:chOff x="5813501" y="1967378"/>
                  <a:chExt cx="529781" cy="529781"/>
                </a:xfrm>
              </p:grpSpPr>
              <p:sp>
                <p:nvSpPr>
                  <p:cNvPr id="103" name="Oval 15" descr="Playbook outline">
                    <a:extLst>
                      <a:ext uri="{FF2B5EF4-FFF2-40B4-BE49-F238E27FC236}">
                        <a16:creationId xmlns:a16="http://schemas.microsoft.com/office/drawing/2014/main" id="{1D169FE1-86B1-2D6C-4F63-B1B12CB2FE78}"/>
                      </a:ext>
                    </a:extLst>
                  </p:cNvPr>
                  <p:cNvSpPr/>
                  <p:nvPr/>
                </p:nvSpPr>
                <p:spPr>
                  <a:xfrm>
                    <a:off x="5813501" y="1967378"/>
                    <a:ext cx="529781" cy="529781"/>
                  </a:xfrm>
                  <a:prstGeom prst="ellipse">
                    <a:avLst/>
                  </a:prstGeom>
                  <a:solidFill>
                    <a:srgbClr val="FFFFFF"/>
                  </a:solidFill>
                  <a:ln>
                    <a:solidFill>
                      <a:schemeClr val="accent4"/>
                    </a:solidFill>
                  </a:ln>
                </p:spPr>
                <p:style>
                  <a:lnRef idx="2">
                    <a:schemeClr val="lt1">
                      <a:hueOff val="0"/>
                      <a:satOff val="0"/>
                      <a:lumOff val="0"/>
                      <a:alphaOff val="0"/>
                    </a:schemeClr>
                  </a:lnRef>
                  <a:fillRef idx="1">
                    <a:scrgbClr r="0" g="0" b="0"/>
                  </a:fillRef>
                  <a:effectRef idx="0">
                    <a:schemeClr val="accent1">
                      <a:tint val="50000"/>
                      <a:hueOff val="0"/>
                      <a:satOff val="0"/>
                      <a:lumOff val="0"/>
                      <a:alphaOff val="0"/>
                    </a:schemeClr>
                  </a:effectRef>
                  <a:fontRef idx="minor">
                    <a:schemeClr val="lt1">
                      <a:hueOff val="0"/>
                      <a:satOff val="0"/>
                      <a:lumOff val="0"/>
                      <a:alphaOff val="0"/>
                    </a:schemeClr>
                  </a:fontRef>
                </p:style>
                <p:txBody>
                  <a:bodyPr/>
                  <a:lstStyle/>
                  <a:p>
                    <a:endParaRPr lang="en-GB" dirty="0"/>
                  </a:p>
                </p:txBody>
              </p:sp>
              <p:pic>
                <p:nvPicPr>
                  <p:cNvPr id="104" name="Graphic 31" descr="Playbook outline">
                    <a:extLst>
                      <a:ext uri="{FF2B5EF4-FFF2-40B4-BE49-F238E27FC236}">
                        <a16:creationId xmlns:a16="http://schemas.microsoft.com/office/drawing/2014/main" id="{9D5F6BE4-DE7C-E9B8-17BC-95446CA14359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>
                    <a:extLst>
                      <a:ext uri="{96DAC541-7B7A-43D3-8B79-37D633B846F1}">
                        <asvg:svgBlip xmlns:asvg="http://schemas.microsoft.com/office/drawing/2016/SVG/main" r:embed="rId4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5877473" y="2031350"/>
                    <a:ext cx="401838" cy="401838"/>
                  </a:xfrm>
                  <a:prstGeom prst="rect">
                    <a:avLst/>
                  </a:prstGeom>
                </p:spPr>
              </p:pic>
            </p:grpSp>
            <p:grpSp>
              <p:nvGrpSpPr>
                <p:cNvPr id="89" name="Group 88">
                  <a:extLst>
                    <a:ext uri="{FF2B5EF4-FFF2-40B4-BE49-F238E27FC236}">
                      <a16:creationId xmlns:a16="http://schemas.microsoft.com/office/drawing/2014/main" id="{748F8C13-A410-FA6F-3C23-A2AF2DFC8200}"/>
                    </a:ext>
                  </a:extLst>
                </p:cNvPr>
                <p:cNvGrpSpPr/>
                <p:nvPr/>
              </p:nvGrpSpPr>
              <p:grpSpPr>
                <a:xfrm>
                  <a:off x="7366080" y="1958890"/>
                  <a:ext cx="529781" cy="529781"/>
                  <a:chOff x="7375632" y="1967378"/>
                  <a:chExt cx="529781" cy="529781"/>
                </a:xfrm>
              </p:grpSpPr>
              <p:sp>
                <p:nvSpPr>
                  <p:cNvPr id="101" name="Oval 20" descr="Open book outline">
                    <a:extLst>
                      <a:ext uri="{FF2B5EF4-FFF2-40B4-BE49-F238E27FC236}">
                        <a16:creationId xmlns:a16="http://schemas.microsoft.com/office/drawing/2014/main" id="{B3055ACA-0BC5-B65D-67D7-C0BD97221E19}"/>
                      </a:ext>
                    </a:extLst>
                  </p:cNvPr>
                  <p:cNvSpPr/>
                  <p:nvPr/>
                </p:nvSpPr>
                <p:spPr>
                  <a:xfrm>
                    <a:off x="7375632" y="1967378"/>
                    <a:ext cx="529781" cy="529781"/>
                  </a:xfrm>
                  <a:prstGeom prst="ellipse">
                    <a:avLst/>
                  </a:prstGeom>
                  <a:solidFill>
                    <a:srgbClr val="FFFFFF"/>
                  </a:solidFill>
                  <a:ln>
                    <a:solidFill>
                      <a:schemeClr val="accent4"/>
                    </a:solidFill>
                  </a:ln>
                </p:spPr>
                <p:style>
                  <a:lnRef idx="2">
                    <a:schemeClr val="lt1">
                      <a:hueOff val="0"/>
                      <a:satOff val="0"/>
                      <a:lumOff val="0"/>
                      <a:alphaOff val="0"/>
                    </a:schemeClr>
                  </a:lnRef>
                  <a:fillRef idx="1">
                    <a:scrgbClr r="0" g="0" b="0"/>
                  </a:fillRef>
                  <a:effectRef idx="0">
                    <a:schemeClr val="accent1">
                      <a:tint val="50000"/>
                      <a:hueOff val="0"/>
                      <a:satOff val="0"/>
                      <a:lumOff val="0"/>
                      <a:alphaOff val="0"/>
                    </a:schemeClr>
                  </a:effectRef>
                  <a:fontRef idx="minor">
                    <a:schemeClr val="lt1">
                      <a:hueOff val="0"/>
                      <a:satOff val="0"/>
                      <a:lumOff val="0"/>
                      <a:alphaOff val="0"/>
                    </a:schemeClr>
                  </a:fontRef>
                </p:style>
                <p:txBody>
                  <a:bodyPr/>
                  <a:lstStyle/>
                  <a:p>
                    <a:endParaRPr lang="en-GB" dirty="0"/>
                  </a:p>
                </p:txBody>
              </p:sp>
              <p:pic>
                <p:nvPicPr>
                  <p:cNvPr id="102" name="Graphic 33" descr="Open book outline">
                    <a:extLst>
                      <a:ext uri="{FF2B5EF4-FFF2-40B4-BE49-F238E27FC236}">
                        <a16:creationId xmlns:a16="http://schemas.microsoft.com/office/drawing/2014/main" id="{DF03DDF2-FFCA-7275-2BE7-B47174BD26EB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>
                    <a:extLst>
                      <a:ext uri="{96DAC541-7B7A-43D3-8B79-37D633B846F1}">
                        <asvg:svgBlip xmlns:asvg="http://schemas.microsoft.com/office/drawing/2016/SVG/main" r:embed="rId5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7439603" y="2031350"/>
                    <a:ext cx="401838" cy="401838"/>
                  </a:xfrm>
                  <a:prstGeom prst="rect">
                    <a:avLst/>
                  </a:prstGeom>
                </p:spPr>
              </p:pic>
            </p:grpSp>
            <p:grpSp>
              <p:nvGrpSpPr>
                <p:cNvPr id="90" name="Group 89">
                  <a:extLst>
                    <a:ext uri="{FF2B5EF4-FFF2-40B4-BE49-F238E27FC236}">
                      <a16:creationId xmlns:a16="http://schemas.microsoft.com/office/drawing/2014/main" id="{298EE220-D66E-D16D-3C34-6A0B1FAFF773}"/>
                    </a:ext>
                  </a:extLst>
                </p:cNvPr>
                <p:cNvGrpSpPr/>
                <p:nvPr/>
              </p:nvGrpSpPr>
              <p:grpSpPr>
                <a:xfrm>
                  <a:off x="6609135" y="1958890"/>
                  <a:ext cx="529781" cy="529781"/>
                  <a:chOff x="6594567" y="1967378"/>
                  <a:chExt cx="529781" cy="529781"/>
                </a:xfrm>
              </p:grpSpPr>
              <p:sp>
                <p:nvSpPr>
                  <p:cNvPr id="99" name="Oval 18" descr="Diploma outline">
                    <a:extLst>
                      <a:ext uri="{FF2B5EF4-FFF2-40B4-BE49-F238E27FC236}">
                        <a16:creationId xmlns:a16="http://schemas.microsoft.com/office/drawing/2014/main" id="{BCB4F55A-3E9B-3BDD-311D-75159BD363C4}"/>
                      </a:ext>
                    </a:extLst>
                  </p:cNvPr>
                  <p:cNvSpPr/>
                  <p:nvPr/>
                </p:nvSpPr>
                <p:spPr>
                  <a:xfrm>
                    <a:off x="6594567" y="1967378"/>
                    <a:ext cx="529781" cy="529781"/>
                  </a:xfrm>
                  <a:prstGeom prst="ellipse">
                    <a:avLst/>
                  </a:prstGeom>
                  <a:solidFill>
                    <a:srgbClr val="FFFFFF"/>
                  </a:solidFill>
                  <a:ln>
                    <a:solidFill>
                      <a:schemeClr val="accent4"/>
                    </a:solidFill>
                  </a:ln>
                </p:spPr>
                <p:style>
                  <a:lnRef idx="2">
                    <a:schemeClr val="lt1">
                      <a:hueOff val="0"/>
                      <a:satOff val="0"/>
                      <a:lumOff val="0"/>
                      <a:alphaOff val="0"/>
                    </a:schemeClr>
                  </a:lnRef>
                  <a:fillRef idx="1">
                    <a:scrgbClr r="0" g="0" b="0"/>
                  </a:fillRef>
                  <a:effectRef idx="0">
                    <a:schemeClr val="accent1">
                      <a:tint val="50000"/>
                      <a:hueOff val="0"/>
                      <a:satOff val="0"/>
                      <a:lumOff val="0"/>
                      <a:alphaOff val="0"/>
                    </a:schemeClr>
                  </a:effectRef>
                  <a:fontRef idx="minor">
                    <a:schemeClr val="lt1">
                      <a:hueOff val="0"/>
                      <a:satOff val="0"/>
                      <a:lumOff val="0"/>
                      <a:alphaOff val="0"/>
                    </a:schemeClr>
                  </a:fontRef>
                </p:style>
                <p:txBody>
                  <a:bodyPr/>
                  <a:lstStyle/>
                  <a:p>
                    <a:endParaRPr lang="en-GB" dirty="0"/>
                  </a:p>
                </p:txBody>
              </p:sp>
              <p:pic>
                <p:nvPicPr>
                  <p:cNvPr id="100" name="Graphic 36" descr="Diploma outline">
                    <a:extLst>
                      <a:ext uri="{FF2B5EF4-FFF2-40B4-BE49-F238E27FC236}">
                        <a16:creationId xmlns:a16="http://schemas.microsoft.com/office/drawing/2014/main" id="{2552FC69-801E-5744-164C-6A3888DB7A4C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>
                    <a:extLst>
                      <a:ext uri="{96DAC541-7B7A-43D3-8B79-37D633B846F1}">
                        <asvg:svgBlip xmlns:asvg="http://schemas.microsoft.com/office/drawing/2016/SVG/main" r:embed="rId6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6658539" y="2031350"/>
                    <a:ext cx="401838" cy="401838"/>
                  </a:xfrm>
                  <a:prstGeom prst="rect">
                    <a:avLst/>
                  </a:prstGeom>
                </p:spPr>
              </p:pic>
            </p:grpSp>
            <p:grpSp>
              <p:nvGrpSpPr>
                <p:cNvPr id="91" name="Group 90">
                  <a:extLst>
                    <a:ext uri="{FF2B5EF4-FFF2-40B4-BE49-F238E27FC236}">
                      <a16:creationId xmlns:a16="http://schemas.microsoft.com/office/drawing/2014/main" id="{C8D10C99-E938-239E-59C9-4D85CCD16298}"/>
                    </a:ext>
                  </a:extLst>
                </p:cNvPr>
                <p:cNvGrpSpPr/>
                <p:nvPr/>
              </p:nvGrpSpPr>
              <p:grpSpPr>
                <a:xfrm>
                  <a:off x="8123024" y="1958890"/>
                  <a:ext cx="529781" cy="529781"/>
                  <a:chOff x="8156699" y="1967378"/>
                  <a:chExt cx="529781" cy="529781"/>
                </a:xfrm>
              </p:grpSpPr>
              <p:sp>
                <p:nvSpPr>
                  <p:cNvPr id="97" name="Oval 23" descr="Coins outline">
                    <a:extLst>
                      <a:ext uri="{FF2B5EF4-FFF2-40B4-BE49-F238E27FC236}">
                        <a16:creationId xmlns:a16="http://schemas.microsoft.com/office/drawing/2014/main" id="{23734BF0-0F5D-3E84-7E03-F84550F2BC10}"/>
                      </a:ext>
                    </a:extLst>
                  </p:cNvPr>
                  <p:cNvSpPr/>
                  <p:nvPr/>
                </p:nvSpPr>
                <p:spPr>
                  <a:xfrm>
                    <a:off x="8156699" y="1967378"/>
                    <a:ext cx="529781" cy="529781"/>
                  </a:xfrm>
                  <a:prstGeom prst="ellipse">
                    <a:avLst/>
                  </a:prstGeom>
                  <a:solidFill>
                    <a:srgbClr val="FFFFFF"/>
                  </a:solidFill>
                  <a:ln>
                    <a:solidFill>
                      <a:schemeClr val="accent4"/>
                    </a:solidFill>
                  </a:ln>
                </p:spPr>
                <p:style>
                  <a:lnRef idx="2">
                    <a:schemeClr val="lt1">
                      <a:hueOff val="0"/>
                      <a:satOff val="0"/>
                      <a:lumOff val="0"/>
                      <a:alphaOff val="0"/>
                    </a:schemeClr>
                  </a:lnRef>
                  <a:fillRef idx="1">
                    <a:scrgbClr r="0" g="0" b="0"/>
                  </a:fillRef>
                  <a:effectRef idx="0">
                    <a:schemeClr val="accent1">
                      <a:tint val="50000"/>
                      <a:hueOff val="0"/>
                      <a:satOff val="0"/>
                      <a:lumOff val="0"/>
                      <a:alphaOff val="0"/>
                    </a:schemeClr>
                  </a:effectRef>
                  <a:fontRef idx="minor">
                    <a:schemeClr val="lt1">
                      <a:hueOff val="0"/>
                      <a:satOff val="0"/>
                      <a:lumOff val="0"/>
                      <a:alphaOff val="0"/>
                    </a:schemeClr>
                  </a:fontRef>
                </p:style>
                <p:txBody>
                  <a:bodyPr/>
                  <a:lstStyle/>
                  <a:p>
                    <a:endParaRPr lang="en-GB" dirty="0"/>
                  </a:p>
                </p:txBody>
              </p:sp>
              <p:pic>
                <p:nvPicPr>
                  <p:cNvPr id="98" name="Graphic 38" descr="Coins outline">
                    <a:extLst>
                      <a:ext uri="{FF2B5EF4-FFF2-40B4-BE49-F238E27FC236}">
                        <a16:creationId xmlns:a16="http://schemas.microsoft.com/office/drawing/2014/main" id="{66396937-7914-C624-962F-E7C6F964E4F9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>
                    <a:extLst>
                      <a:ext uri="{96DAC541-7B7A-43D3-8B79-37D633B846F1}">
                        <asvg:svgBlip xmlns:asvg="http://schemas.microsoft.com/office/drawing/2016/SVG/main" r:embed="rId7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8220670" y="2031350"/>
                    <a:ext cx="401838" cy="401838"/>
                  </a:xfrm>
                  <a:prstGeom prst="rect">
                    <a:avLst/>
                  </a:prstGeom>
                </p:spPr>
              </p:pic>
            </p:grpSp>
            <p:sp>
              <p:nvSpPr>
                <p:cNvPr id="92" name="Rectangle 9">
                  <a:extLst>
                    <a:ext uri="{FF2B5EF4-FFF2-40B4-BE49-F238E27FC236}">
                      <a16:creationId xmlns:a16="http://schemas.microsoft.com/office/drawing/2014/main" id="{B65871A1-2A9D-4F31-673E-C48E242B3BB1}"/>
                    </a:ext>
                  </a:extLst>
                </p:cNvPr>
                <p:cNvSpPr/>
                <p:nvPr/>
              </p:nvSpPr>
              <p:spPr>
                <a:xfrm>
                  <a:off x="4980624" y="2564267"/>
                  <a:ext cx="759023" cy="1205816"/>
                </a:xfrm>
                <a:prstGeom prst="rect">
                  <a:avLst/>
                </a:prstGeom>
                <a:noFill/>
                <a:ln>
                  <a:noFill/>
                </a:ln>
              </p:spPr>
              <p:style>
                <a:lnRef idx="2">
                  <a:schemeClr val="lt1">
                    <a:hueOff val="0"/>
                    <a:satOff val="0"/>
                    <a:lumOff val="0"/>
                    <a:alphaOff val="0"/>
                  </a:schemeClr>
                </a:lnRef>
                <a:fillRef idx="1">
                  <a:schemeClr val="accent1">
                    <a:hueOff val="0"/>
                    <a:satOff val="0"/>
                    <a:lumOff val="0"/>
                    <a:alphaOff val="0"/>
                  </a:schemeClr>
                </a:fillRef>
                <a:effectRef idx="0">
                  <a:schemeClr val="accent1"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lt1"/>
                </a:fontRef>
              </p:style>
              <p:txBody>
                <a:bodyPr spcFirstLastPara="0" vert="horz" wrap="square" lIns="0" tIns="0" rIns="0" bIns="0" numCol="1" spcCol="1270" anchor="t" anchorCtr="0">
                  <a:noAutofit/>
                </a:bodyPr>
                <a:lstStyle/>
                <a:p>
                  <a:pPr marL="0" lvl="0" indent="0" algn="ctr" defTabSz="355600">
                    <a:lnSpc>
                      <a:spcPct val="120000"/>
                    </a:lnSpc>
                    <a:spcBef>
                      <a:spcPct val="0"/>
                    </a:spcBef>
                    <a:spcAft>
                      <a:spcPct val="35000"/>
                    </a:spcAft>
                    <a:buNone/>
                  </a:pPr>
                  <a:r>
                    <a:rPr lang="en-GB" sz="900" b="1" kern="1200" dirty="0">
                      <a:solidFill>
                        <a:schemeClr val="tx1"/>
                      </a:solidFill>
                    </a:rPr>
                    <a:t>COACHING</a:t>
                  </a:r>
                  <a:br>
                    <a:rPr lang="en-GB" sz="900" b="1" kern="1200" dirty="0">
                      <a:solidFill>
                        <a:schemeClr val="tx1"/>
                      </a:solidFill>
                    </a:rPr>
                  </a:br>
                  <a:endParaRPr lang="en-GB" sz="900" b="1" kern="1200" dirty="0">
                    <a:solidFill>
                      <a:schemeClr val="tx1"/>
                    </a:solidFill>
                  </a:endParaRPr>
                </a:p>
                <a:p>
                  <a:pPr marL="0" lvl="0" indent="0" algn="ctr" defTabSz="355600">
                    <a:lnSpc>
                      <a:spcPct val="120000"/>
                    </a:lnSpc>
                    <a:spcBef>
                      <a:spcPct val="0"/>
                    </a:spcBef>
                    <a:spcAft>
                      <a:spcPct val="35000"/>
                    </a:spcAft>
                    <a:buNone/>
                  </a:pPr>
                  <a:endParaRPr lang="en-GB" sz="900" kern="1200" dirty="0">
                    <a:solidFill>
                      <a:schemeClr val="tx1"/>
                    </a:solidFill>
                    <a:cs typeface="Arial"/>
                  </a:endParaRPr>
                </a:p>
              </p:txBody>
            </p:sp>
            <p:sp>
              <p:nvSpPr>
                <p:cNvPr id="93" name="Rectangle 12">
                  <a:extLst>
                    <a:ext uri="{FF2B5EF4-FFF2-40B4-BE49-F238E27FC236}">
                      <a16:creationId xmlns:a16="http://schemas.microsoft.com/office/drawing/2014/main" id="{927CEA15-D2CC-F2B0-E3CB-9174E2B5D382}"/>
                    </a:ext>
                  </a:extLst>
                </p:cNvPr>
                <p:cNvSpPr/>
                <p:nvPr/>
              </p:nvSpPr>
              <p:spPr>
                <a:xfrm>
                  <a:off x="5737569" y="2564267"/>
                  <a:ext cx="759023" cy="1205816"/>
                </a:xfrm>
                <a:prstGeom prst="rect">
                  <a:avLst/>
                </a:prstGeom>
                <a:noFill/>
                <a:ln>
                  <a:noFill/>
                </a:ln>
              </p:spPr>
              <p:style>
                <a:lnRef idx="2">
                  <a:schemeClr val="lt1">
                    <a:hueOff val="0"/>
                    <a:satOff val="0"/>
                    <a:lumOff val="0"/>
                    <a:alphaOff val="0"/>
                  </a:schemeClr>
                </a:lnRef>
                <a:fillRef idx="1">
                  <a:schemeClr val="accent1">
                    <a:hueOff val="0"/>
                    <a:satOff val="0"/>
                    <a:lumOff val="0"/>
                    <a:alphaOff val="0"/>
                  </a:schemeClr>
                </a:fillRef>
                <a:effectRef idx="0">
                  <a:schemeClr val="accent1"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lt1"/>
                </a:fontRef>
              </p:style>
              <p:txBody>
                <a:bodyPr spcFirstLastPara="0" vert="horz" wrap="square" lIns="0" tIns="0" rIns="0" bIns="0" numCol="1" spcCol="1270" anchor="t" anchorCtr="0">
                  <a:noAutofit/>
                </a:bodyPr>
                <a:lstStyle/>
                <a:p>
                  <a:pPr marL="0" lvl="0" indent="0" algn="ctr" defTabSz="355600">
                    <a:lnSpc>
                      <a:spcPct val="120000"/>
                    </a:lnSpc>
                    <a:spcBef>
                      <a:spcPct val="0"/>
                    </a:spcBef>
                    <a:spcAft>
                      <a:spcPct val="35000"/>
                    </a:spcAft>
                    <a:buNone/>
                  </a:pPr>
                  <a:r>
                    <a:rPr lang="en-GB" sz="900" b="1" kern="1200" dirty="0">
                      <a:solidFill>
                        <a:schemeClr val="tx1"/>
                      </a:solidFill>
                    </a:rPr>
                    <a:t>COURSES</a:t>
                  </a:r>
                  <a:br>
                    <a:rPr lang="en-GB" sz="900" b="1" kern="1200" dirty="0">
                      <a:solidFill>
                        <a:schemeClr val="tx1"/>
                      </a:solidFill>
                    </a:rPr>
                  </a:br>
                  <a:r>
                    <a:rPr lang="en-GB" sz="900" b="1" kern="1200" dirty="0">
                      <a:solidFill>
                        <a:schemeClr val="tx1"/>
                      </a:solidFill>
                    </a:rPr>
                    <a:t> </a:t>
                  </a:r>
                </a:p>
                <a:p>
                  <a:pPr marL="0" lvl="0" indent="0" algn="ctr" defTabSz="355600">
                    <a:lnSpc>
                      <a:spcPct val="120000"/>
                    </a:lnSpc>
                    <a:spcBef>
                      <a:spcPct val="0"/>
                    </a:spcBef>
                    <a:spcAft>
                      <a:spcPct val="35000"/>
                    </a:spcAft>
                    <a:buNone/>
                  </a:pPr>
                  <a:endParaRPr lang="en-GB" sz="900" kern="1200" dirty="0">
                    <a:solidFill>
                      <a:schemeClr val="tx1"/>
                    </a:solidFill>
                    <a:cs typeface="Arial"/>
                  </a:endParaRPr>
                </a:p>
              </p:txBody>
            </p:sp>
            <p:sp>
              <p:nvSpPr>
                <p:cNvPr id="94" name="Rectangle 16">
                  <a:extLst>
                    <a:ext uri="{FF2B5EF4-FFF2-40B4-BE49-F238E27FC236}">
                      <a16:creationId xmlns:a16="http://schemas.microsoft.com/office/drawing/2014/main" id="{751AB00F-51AE-1560-A186-D304E364B386}"/>
                    </a:ext>
                  </a:extLst>
                </p:cNvPr>
                <p:cNvSpPr/>
                <p:nvPr/>
              </p:nvSpPr>
              <p:spPr>
                <a:xfrm>
                  <a:off x="6494514" y="2564267"/>
                  <a:ext cx="759023" cy="1205816"/>
                </a:xfrm>
                <a:prstGeom prst="rect">
                  <a:avLst/>
                </a:prstGeom>
                <a:noFill/>
                <a:ln>
                  <a:noFill/>
                </a:ln>
              </p:spPr>
              <p:style>
                <a:lnRef idx="2">
                  <a:schemeClr val="lt1">
                    <a:hueOff val="0"/>
                    <a:satOff val="0"/>
                    <a:lumOff val="0"/>
                    <a:alphaOff val="0"/>
                  </a:schemeClr>
                </a:lnRef>
                <a:fillRef idx="1">
                  <a:schemeClr val="accent1">
                    <a:hueOff val="0"/>
                    <a:satOff val="0"/>
                    <a:lumOff val="0"/>
                    <a:alphaOff val="0"/>
                  </a:schemeClr>
                </a:fillRef>
                <a:effectRef idx="0">
                  <a:schemeClr val="accent1"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lt1"/>
                </a:fontRef>
              </p:style>
              <p:txBody>
                <a:bodyPr spcFirstLastPara="0" vert="horz" wrap="square" lIns="0" tIns="0" rIns="0" bIns="0" numCol="1" spcCol="1270" anchor="t" anchorCtr="0">
                  <a:noAutofit/>
                </a:bodyPr>
                <a:lstStyle/>
                <a:p>
                  <a:pPr marL="0" lvl="0" indent="0" algn="ctr" defTabSz="355600">
                    <a:lnSpc>
                      <a:spcPct val="120000"/>
                    </a:lnSpc>
                    <a:spcBef>
                      <a:spcPct val="0"/>
                    </a:spcBef>
                    <a:spcAft>
                      <a:spcPct val="35000"/>
                    </a:spcAft>
                    <a:buNone/>
                  </a:pPr>
                  <a:r>
                    <a:rPr lang="en-GB" sz="900" b="1" kern="1200" dirty="0">
                      <a:solidFill>
                        <a:schemeClr val="tx1"/>
                      </a:solidFill>
                    </a:rPr>
                    <a:t>BURSARY</a:t>
                  </a:r>
                  <a:br>
                    <a:rPr lang="en-GB" sz="900" b="1" kern="1200" dirty="0">
                      <a:solidFill>
                        <a:schemeClr val="tx1"/>
                      </a:solidFill>
                    </a:rPr>
                  </a:br>
                  <a:endParaRPr lang="en-GB" sz="900" b="1" kern="1200" dirty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95" name="Rectangle 19">
                  <a:extLst>
                    <a:ext uri="{FF2B5EF4-FFF2-40B4-BE49-F238E27FC236}">
                      <a16:creationId xmlns:a16="http://schemas.microsoft.com/office/drawing/2014/main" id="{67130744-EE28-E36C-0BC2-C70F191DF2A6}"/>
                    </a:ext>
                  </a:extLst>
                </p:cNvPr>
                <p:cNvSpPr/>
                <p:nvPr/>
              </p:nvSpPr>
              <p:spPr>
                <a:xfrm>
                  <a:off x="7251459" y="2564267"/>
                  <a:ext cx="759023" cy="1205816"/>
                </a:xfrm>
                <a:prstGeom prst="rect">
                  <a:avLst/>
                </a:prstGeom>
                <a:noFill/>
                <a:ln>
                  <a:noFill/>
                </a:ln>
              </p:spPr>
              <p:style>
                <a:lnRef idx="2">
                  <a:schemeClr val="lt1">
                    <a:hueOff val="0"/>
                    <a:satOff val="0"/>
                    <a:lumOff val="0"/>
                    <a:alphaOff val="0"/>
                  </a:schemeClr>
                </a:lnRef>
                <a:fillRef idx="1">
                  <a:schemeClr val="accent1">
                    <a:hueOff val="0"/>
                    <a:satOff val="0"/>
                    <a:lumOff val="0"/>
                    <a:alphaOff val="0"/>
                  </a:schemeClr>
                </a:fillRef>
                <a:effectRef idx="0">
                  <a:schemeClr val="accent1"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lt1"/>
                </a:fontRef>
              </p:style>
              <p:txBody>
                <a:bodyPr spcFirstLastPara="0" vert="horz" wrap="square" lIns="0" tIns="0" rIns="0" bIns="0" numCol="1" spcCol="1270" anchor="t" anchorCtr="0">
                  <a:noAutofit/>
                </a:bodyPr>
                <a:lstStyle/>
                <a:p>
                  <a:pPr marL="0" lvl="0" indent="0" algn="ctr" defTabSz="355600">
                    <a:lnSpc>
                      <a:spcPct val="120000"/>
                    </a:lnSpc>
                    <a:spcBef>
                      <a:spcPct val="0"/>
                    </a:spcBef>
                    <a:spcAft>
                      <a:spcPct val="35000"/>
                    </a:spcAft>
                    <a:buNone/>
                  </a:pPr>
                  <a:r>
                    <a:rPr lang="en-GB" sz="900" b="1" kern="1200" spc="-20" dirty="0">
                      <a:solidFill>
                        <a:schemeClr val="tx1"/>
                      </a:solidFill>
                    </a:rPr>
                    <a:t>MATERIALS</a:t>
                  </a:r>
                  <a:br>
                    <a:rPr lang="en-GB" sz="900" b="1" kern="1200" spc="-20" dirty="0">
                      <a:solidFill>
                        <a:schemeClr val="tx1"/>
                      </a:solidFill>
                    </a:rPr>
                  </a:br>
                  <a:endParaRPr lang="en-GB" sz="900" b="1" kern="1200" spc="-20" dirty="0">
                    <a:solidFill>
                      <a:schemeClr val="tx1"/>
                    </a:solidFill>
                  </a:endParaRPr>
                </a:p>
                <a:p>
                  <a:pPr lvl="0" algn="ctr" defTabSz="355600">
                    <a:lnSpc>
                      <a:spcPct val="120000"/>
                    </a:lnSpc>
                    <a:spcBef>
                      <a:spcPct val="0"/>
                    </a:spcBef>
                    <a:spcAft>
                      <a:spcPct val="35000"/>
                    </a:spcAft>
                  </a:pPr>
                  <a:endParaRPr lang="en-GB" sz="900" kern="1200" dirty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96" name="Rectangle 22">
                  <a:extLst>
                    <a:ext uri="{FF2B5EF4-FFF2-40B4-BE49-F238E27FC236}">
                      <a16:creationId xmlns:a16="http://schemas.microsoft.com/office/drawing/2014/main" id="{F45916AF-9BDB-C080-A7EC-EF2FBF6EB499}"/>
                    </a:ext>
                  </a:extLst>
                </p:cNvPr>
                <p:cNvSpPr/>
                <p:nvPr/>
              </p:nvSpPr>
              <p:spPr>
                <a:xfrm>
                  <a:off x="8008403" y="2564267"/>
                  <a:ext cx="759023" cy="1205816"/>
                </a:xfrm>
                <a:prstGeom prst="rect">
                  <a:avLst/>
                </a:prstGeom>
                <a:noFill/>
                <a:ln>
                  <a:noFill/>
                </a:ln>
              </p:spPr>
              <p:style>
                <a:lnRef idx="2">
                  <a:schemeClr val="lt1">
                    <a:hueOff val="0"/>
                    <a:satOff val="0"/>
                    <a:lumOff val="0"/>
                    <a:alphaOff val="0"/>
                  </a:schemeClr>
                </a:lnRef>
                <a:fillRef idx="1">
                  <a:schemeClr val="accent1">
                    <a:hueOff val="0"/>
                    <a:satOff val="0"/>
                    <a:lumOff val="0"/>
                    <a:alphaOff val="0"/>
                  </a:schemeClr>
                </a:fillRef>
                <a:effectRef idx="0">
                  <a:schemeClr val="accent1"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lt1"/>
                </a:fontRef>
              </p:style>
              <p:txBody>
                <a:bodyPr spcFirstLastPara="0" vert="horz" wrap="square" lIns="0" tIns="0" rIns="0" bIns="0" numCol="1" spcCol="1270" anchor="t" anchorCtr="0">
                  <a:noAutofit/>
                </a:bodyPr>
                <a:lstStyle/>
                <a:p>
                  <a:pPr marL="0" lvl="0" indent="0" algn="ctr" defTabSz="355600">
                    <a:lnSpc>
                      <a:spcPct val="120000"/>
                    </a:lnSpc>
                    <a:spcBef>
                      <a:spcPct val="0"/>
                    </a:spcBef>
                    <a:spcAft>
                      <a:spcPct val="35000"/>
                    </a:spcAft>
                    <a:buNone/>
                  </a:pPr>
                  <a:r>
                    <a:rPr lang="en-GB" sz="900" b="1" kern="1200" dirty="0">
                      <a:solidFill>
                        <a:schemeClr val="tx1"/>
                      </a:solidFill>
                    </a:rPr>
                    <a:t>FULL </a:t>
                  </a:r>
                  <a:br>
                    <a:rPr lang="pl-PL" sz="900" b="1" kern="1200" dirty="0">
                      <a:solidFill>
                        <a:schemeClr val="tx1"/>
                      </a:solidFill>
                    </a:rPr>
                  </a:br>
                  <a:r>
                    <a:rPr lang="en-GB" sz="900" b="1" kern="1200" dirty="0">
                      <a:solidFill>
                        <a:schemeClr val="tx1"/>
                      </a:solidFill>
                    </a:rPr>
                    <a:t>EXAM FEES</a:t>
                  </a:r>
                </a:p>
              </p:txBody>
            </p:sp>
          </p:grpSp>
          <p:grpSp>
            <p:nvGrpSpPr>
              <p:cNvPr id="82" name="Group 81">
                <a:extLst>
                  <a:ext uri="{FF2B5EF4-FFF2-40B4-BE49-F238E27FC236}">
                    <a16:creationId xmlns:a16="http://schemas.microsoft.com/office/drawing/2014/main" id="{F1521F1E-19C5-2C34-ACD8-F2CAD43FDC01}"/>
                  </a:ext>
                </a:extLst>
              </p:cNvPr>
              <p:cNvGrpSpPr/>
              <p:nvPr/>
            </p:nvGrpSpPr>
            <p:grpSpPr>
              <a:xfrm>
                <a:off x="681461" y="2122900"/>
                <a:ext cx="3822897" cy="449468"/>
                <a:chOff x="4987423" y="1482820"/>
                <a:chExt cx="3814615" cy="325229"/>
              </a:xfrm>
            </p:grpSpPr>
            <p:sp>
              <p:nvSpPr>
                <p:cNvPr id="83" name="Rectangle 82">
                  <a:extLst>
                    <a:ext uri="{FF2B5EF4-FFF2-40B4-BE49-F238E27FC236}">
                      <a16:creationId xmlns:a16="http://schemas.microsoft.com/office/drawing/2014/main" id="{5B8C2D00-F7A3-1D9C-860A-16572E4FCE28}"/>
                    </a:ext>
                  </a:extLst>
                </p:cNvPr>
                <p:cNvSpPr/>
                <p:nvPr/>
              </p:nvSpPr>
              <p:spPr>
                <a:xfrm>
                  <a:off x="4987423" y="1482820"/>
                  <a:ext cx="3814615" cy="325229"/>
                </a:xfrm>
                <a:prstGeom prst="rect">
                  <a:avLst/>
                </a:prstGeom>
                <a:solidFill>
                  <a:schemeClr val="bg1">
                    <a:lumMod val="95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/>
                </a:p>
              </p:txBody>
            </p:sp>
            <p:sp>
              <p:nvSpPr>
                <p:cNvPr id="84" name="Inhaltsplatzhalter 17">
                  <a:extLst>
                    <a:ext uri="{FF2B5EF4-FFF2-40B4-BE49-F238E27FC236}">
                      <a16:creationId xmlns:a16="http://schemas.microsoft.com/office/drawing/2014/main" id="{B1A45B57-82EC-C605-8969-8B28CDBF9713}"/>
                    </a:ext>
                  </a:extLst>
                </p:cNvPr>
                <p:cNvSpPr txBox="1">
                  <a:spLocks/>
                </p:cNvSpPr>
                <p:nvPr/>
              </p:nvSpPr>
              <p:spPr>
                <a:xfrm>
                  <a:off x="5130433" y="1557800"/>
                  <a:ext cx="3404286" cy="201274"/>
                </a:xfrm>
                <a:prstGeom prst="rect">
                  <a:avLst/>
                </a:prstGeom>
              </p:spPr>
              <p:txBody>
                <a:bodyPr vert="horz" wrap="square" lIns="0" tIns="0" rIns="0" bIns="0" rtlCol="0" anchor="t">
                  <a:spAutoFit/>
                </a:bodyPr>
                <a:lstStyle>
                  <a:lvl1pPr marL="0" indent="0" algn="l" defTabSz="685800" rtl="0" eaLnBrk="1" latinLnBrk="0" hangingPunct="1">
                    <a:lnSpc>
                      <a:spcPct val="120000"/>
                    </a:lnSpc>
                    <a:spcBef>
                      <a:spcPts val="800"/>
                    </a:spcBef>
                    <a:buFont typeface="Arial" panose="020B0604020202020204" pitchFamily="34" charset="0"/>
                    <a:buNone/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504000" indent="-180000" algn="l" defTabSz="685800" rtl="0" eaLnBrk="1" latinLnBrk="0" hangingPunct="1">
                    <a:lnSpc>
                      <a:spcPct val="120000"/>
                    </a:lnSpc>
                    <a:spcBef>
                      <a:spcPts val="800"/>
                    </a:spcBef>
                    <a:buClr>
                      <a:schemeClr val="accent6"/>
                    </a:buClr>
                    <a:buSzPct val="100000"/>
                    <a:buFont typeface="Wingdings" panose="05000000000000000000" pitchFamily="2" charset="2"/>
                    <a:buChar char="n"/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684000" indent="-180000" algn="l" defTabSz="685800" rtl="0" eaLnBrk="1" latinLnBrk="0" hangingPunct="1">
                    <a:lnSpc>
                      <a:spcPct val="120000"/>
                    </a:lnSpc>
                    <a:spcBef>
                      <a:spcPts val="800"/>
                    </a:spcBef>
                    <a:buClr>
                      <a:schemeClr val="accent6"/>
                    </a:buClr>
                    <a:buSzPct val="100000"/>
                    <a:buFont typeface="Wingdings" panose="05000000000000000000" pitchFamily="2" charset="2"/>
                    <a:buChar char="n"/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864000" indent="-180000" algn="l" defTabSz="685800" rtl="0" eaLnBrk="1" latinLnBrk="0" hangingPunct="1">
                    <a:lnSpc>
                      <a:spcPct val="120000"/>
                    </a:lnSpc>
                    <a:spcBef>
                      <a:spcPts val="800"/>
                    </a:spcBef>
                    <a:buClr>
                      <a:schemeClr val="accent6"/>
                    </a:buClr>
                    <a:buSzPct val="100000"/>
                    <a:buFont typeface="Wingdings" panose="05000000000000000000" pitchFamily="2" charset="2"/>
                    <a:buChar char="n"/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044000" indent="-180000" algn="l" defTabSz="685800" rtl="0" eaLnBrk="1" latinLnBrk="0" hangingPunct="1">
                    <a:lnSpc>
                      <a:spcPct val="120000"/>
                    </a:lnSpc>
                    <a:spcBef>
                      <a:spcPts val="800"/>
                    </a:spcBef>
                    <a:buClr>
                      <a:schemeClr val="accent6"/>
                    </a:buClr>
                    <a:buSzPct val="100000"/>
                    <a:buFont typeface="Wingdings" panose="05000000000000000000" pitchFamily="2" charset="2"/>
                    <a:buChar char="n"/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1885950" indent="-171450" algn="l" defTabSz="685800" rtl="0" eaLnBrk="1" latinLnBrk="0" hangingPunct="1">
                    <a:lnSpc>
                      <a:spcPct val="90000"/>
                    </a:lnSpc>
                    <a:spcBef>
                      <a:spcPts val="375"/>
                    </a:spcBef>
                    <a:buFont typeface="Arial" panose="020B0604020202020204" pitchFamily="34" charset="0"/>
                    <a:buChar char="•"/>
                    <a:defRPr sz="135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228850" indent="-171450" algn="l" defTabSz="685800" rtl="0" eaLnBrk="1" latinLnBrk="0" hangingPunct="1">
                    <a:lnSpc>
                      <a:spcPct val="90000"/>
                    </a:lnSpc>
                    <a:spcBef>
                      <a:spcPts val="375"/>
                    </a:spcBef>
                    <a:buFont typeface="Arial" panose="020B0604020202020204" pitchFamily="34" charset="0"/>
                    <a:buChar char="•"/>
                    <a:defRPr sz="135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2571750" indent="-171450" algn="l" defTabSz="685800" rtl="0" eaLnBrk="1" latinLnBrk="0" hangingPunct="1">
                    <a:lnSpc>
                      <a:spcPct val="90000"/>
                    </a:lnSpc>
                    <a:spcBef>
                      <a:spcPts val="375"/>
                    </a:spcBef>
                    <a:buFont typeface="Arial" panose="020B0604020202020204" pitchFamily="34" charset="0"/>
                    <a:buChar char="•"/>
                    <a:defRPr sz="135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2914650" indent="-171450" algn="l" defTabSz="685800" rtl="0" eaLnBrk="1" latinLnBrk="0" hangingPunct="1">
                    <a:lnSpc>
                      <a:spcPct val="90000"/>
                    </a:lnSpc>
                    <a:spcBef>
                      <a:spcPts val="375"/>
                    </a:spcBef>
                    <a:buFont typeface="Arial" panose="020B0604020202020204" pitchFamily="34" charset="0"/>
                    <a:buChar char="•"/>
                    <a:defRPr sz="135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r>
                    <a:rPr lang="en-GB" sz="1200" b="1" dirty="0"/>
                    <a:t>Comprehensive CSP support over 3 years</a:t>
                  </a:r>
                  <a:endParaRPr lang="en-GB" sz="1200" b="1" dirty="0">
                    <a:cs typeface="Arial"/>
                  </a:endParaRPr>
                </a:p>
              </p:txBody>
            </p:sp>
          </p:grpSp>
        </p:grpSp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9FCB7DD9-419D-17DF-5BFE-1DB8BA17B434}"/>
                </a:ext>
              </a:extLst>
            </p:cNvPr>
            <p:cNvGrpSpPr/>
            <p:nvPr/>
          </p:nvGrpSpPr>
          <p:grpSpPr>
            <a:xfrm>
              <a:off x="4947803" y="1507005"/>
              <a:ext cx="3784992" cy="1205870"/>
              <a:chOff x="5016383" y="2733825"/>
              <a:chExt cx="3784992" cy="1205870"/>
            </a:xfrm>
          </p:grpSpPr>
          <p:grpSp>
            <p:nvGrpSpPr>
              <p:cNvPr id="73" name="Group 72">
                <a:extLst>
                  <a:ext uri="{FF2B5EF4-FFF2-40B4-BE49-F238E27FC236}">
                    <a16:creationId xmlns:a16="http://schemas.microsoft.com/office/drawing/2014/main" id="{4BBD74DD-A702-6779-9043-7C23B9CB8928}"/>
                  </a:ext>
                </a:extLst>
              </p:cNvPr>
              <p:cNvGrpSpPr/>
              <p:nvPr/>
            </p:nvGrpSpPr>
            <p:grpSpPr>
              <a:xfrm>
                <a:off x="5019890" y="2733825"/>
                <a:ext cx="3781485" cy="441185"/>
                <a:chOff x="4987423" y="1482820"/>
                <a:chExt cx="3814615" cy="325229"/>
              </a:xfrm>
            </p:grpSpPr>
            <p:sp>
              <p:nvSpPr>
                <p:cNvPr id="79" name="Rectangle 78">
                  <a:extLst>
                    <a:ext uri="{FF2B5EF4-FFF2-40B4-BE49-F238E27FC236}">
                      <a16:creationId xmlns:a16="http://schemas.microsoft.com/office/drawing/2014/main" id="{A1F84917-A81A-F3C2-BC23-BC88F59065FD}"/>
                    </a:ext>
                  </a:extLst>
                </p:cNvPr>
                <p:cNvSpPr/>
                <p:nvPr/>
              </p:nvSpPr>
              <p:spPr>
                <a:xfrm>
                  <a:off x="4987423" y="1482820"/>
                  <a:ext cx="3814615" cy="325229"/>
                </a:xfrm>
                <a:prstGeom prst="rect">
                  <a:avLst/>
                </a:prstGeom>
                <a:solidFill>
                  <a:schemeClr val="bg1">
                    <a:lumMod val="95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/>
                </a:p>
              </p:txBody>
            </p:sp>
            <p:sp>
              <p:nvSpPr>
                <p:cNvPr id="80" name="Inhaltsplatzhalter 17">
                  <a:extLst>
                    <a:ext uri="{FF2B5EF4-FFF2-40B4-BE49-F238E27FC236}">
                      <a16:creationId xmlns:a16="http://schemas.microsoft.com/office/drawing/2014/main" id="{D1FEEAB7-8A30-E42A-EFF8-F6B10ED77FE3}"/>
                    </a:ext>
                  </a:extLst>
                </p:cNvPr>
                <p:cNvSpPr txBox="1">
                  <a:spLocks/>
                </p:cNvSpPr>
                <p:nvPr/>
              </p:nvSpPr>
              <p:spPr>
                <a:xfrm>
                  <a:off x="5113903" y="1545814"/>
                  <a:ext cx="3404286" cy="148373"/>
                </a:xfrm>
                <a:prstGeom prst="rect">
                  <a:avLst/>
                </a:prstGeom>
              </p:spPr>
              <p:txBody>
                <a:bodyPr vert="horz" wrap="square" lIns="0" tIns="0" rIns="0" bIns="0" rtlCol="0" anchor="t">
                  <a:spAutoFit/>
                </a:bodyPr>
                <a:lstStyle>
                  <a:lvl1pPr marL="0" indent="0" algn="l" defTabSz="685800" rtl="0" eaLnBrk="1" latinLnBrk="0" hangingPunct="1">
                    <a:lnSpc>
                      <a:spcPct val="120000"/>
                    </a:lnSpc>
                    <a:spcBef>
                      <a:spcPts val="800"/>
                    </a:spcBef>
                    <a:buFont typeface="Arial" panose="020B0604020202020204" pitchFamily="34" charset="0"/>
                    <a:buNone/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504000" indent="-180000" algn="l" defTabSz="685800" rtl="0" eaLnBrk="1" latinLnBrk="0" hangingPunct="1">
                    <a:lnSpc>
                      <a:spcPct val="120000"/>
                    </a:lnSpc>
                    <a:spcBef>
                      <a:spcPts val="800"/>
                    </a:spcBef>
                    <a:buClr>
                      <a:schemeClr val="accent6"/>
                    </a:buClr>
                    <a:buSzPct val="100000"/>
                    <a:buFont typeface="Wingdings" panose="05000000000000000000" pitchFamily="2" charset="2"/>
                    <a:buChar char="n"/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684000" indent="-180000" algn="l" defTabSz="685800" rtl="0" eaLnBrk="1" latinLnBrk="0" hangingPunct="1">
                    <a:lnSpc>
                      <a:spcPct val="120000"/>
                    </a:lnSpc>
                    <a:spcBef>
                      <a:spcPts val="800"/>
                    </a:spcBef>
                    <a:buClr>
                      <a:schemeClr val="accent6"/>
                    </a:buClr>
                    <a:buSzPct val="100000"/>
                    <a:buFont typeface="Wingdings" panose="05000000000000000000" pitchFamily="2" charset="2"/>
                    <a:buChar char="n"/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864000" indent="-180000" algn="l" defTabSz="685800" rtl="0" eaLnBrk="1" latinLnBrk="0" hangingPunct="1">
                    <a:lnSpc>
                      <a:spcPct val="120000"/>
                    </a:lnSpc>
                    <a:spcBef>
                      <a:spcPts val="800"/>
                    </a:spcBef>
                    <a:buClr>
                      <a:schemeClr val="accent6"/>
                    </a:buClr>
                    <a:buSzPct val="100000"/>
                    <a:buFont typeface="Wingdings" panose="05000000000000000000" pitchFamily="2" charset="2"/>
                    <a:buChar char="n"/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044000" indent="-180000" algn="l" defTabSz="685800" rtl="0" eaLnBrk="1" latinLnBrk="0" hangingPunct="1">
                    <a:lnSpc>
                      <a:spcPct val="120000"/>
                    </a:lnSpc>
                    <a:spcBef>
                      <a:spcPts val="800"/>
                    </a:spcBef>
                    <a:buClr>
                      <a:schemeClr val="accent6"/>
                    </a:buClr>
                    <a:buSzPct val="100000"/>
                    <a:buFont typeface="Wingdings" panose="05000000000000000000" pitchFamily="2" charset="2"/>
                    <a:buChar char="n"/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1885950" indent="-171450" algn="l" defTabSz="685800" rtl="0" eaLnBrk="1" latinLnBrk="0" hangingPunct="1">
                    <a:lnSpc>
                      <a:spcPct val="90000"/>
                    </a:lnSpc>
                    <a:spcBef>
                      <a:spcPts val="375"/>
                    </a:spcBef>
                    <a:buFont typeface="Arial" panose="020B0604020202020204" pitchFamily="34" charset="0"/>
                    <a:buChar char="•"/>
                    <a:defRPr sz="135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228850" indent="-171450" algn="l" defTabSz="685800" rtl="0" eaLnBrk="1" latinLnBrk="0" hangingPunct="1">
                    <a:lnSpc>
                      <a:spcPct val="90000"/>
                    </a:lnSpc>
                    <a:spcBef>
                      <a:spcPts val="375"/>
                    </a:spcBef>
                    <a:buFont typeface="Arial" panose="020B0604020202020204" pitchFamily="34" charset="0"/>
                    <a:buChar char="•"/>
                    <a:defRPr sz="135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2571750" indent="-171450" algn="l" defTabSz="685800" rtl="0" eaLnBrk="1" latinLnBrk="0" hangingPunct="1">
                    <a:lnSpc>
                      <a:spcPct val="90000"/>
                    </a:lnSpc>
                    <a:spcBef>
                      <a:spcPts val="375"/>
                    </a:spcBef>
                    <a:buFont typeface="Arial" panose="020B0604020202020204" pitchFamily="34" charset="0"/>
                    <a:buChar char="•"/>
                    <a:defRPr sz="135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2914650" indent="-171450" algn="l" defTabSz="685800" rtl="0" eaLnBrk="1" latinLnBrk="0" hangingPunct="1">
                    <a:lnSpc>
                      <a:spcPct val="90000"/>
                    </a:lnSpc>
                    <a:spcBef>
                      <a:spcPts val="375"/>
                    </a:spcBef>
                    <a:buFont typeface="Arial" panose="020B0604020202020204" pitchFamily="34" charset="0"/>
                    <a:buChar char="•"/>
                    <a:defRPr sz="135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r>
                    <a:rPr lang="en-GB" sz="1200" b="1" dirty="0">
                      <a:cs typeface="Arial"/>
                    </a:rPr>
                    <a:t>Full EQE fee support</a:t>
                  </a:r>
                </a:p>
              </p:txBody>
            </p:sp>
          </p:grpSp>
          <p:grpSp>
            <p:nvGrpSpPr>
              <p:cNvPr id="74" name="Group 73">
                <a:extLst>
                  <a:ext uri="{FF2B5EF4-FFF2-40B4-BE49-F238E27FC236}">
                    <a16:creationId xmlns:a16="http://schemas.microsoft.com/office/drawing/2014/main" id="{9486B298-CFD0-4B05-007C-B3E2DF82B5CB}"/>
                  </a:ext>
                </a:extLst>
              </p:cNvPr>
              <p:cNvGrpSpPr/>
              <p:nvPr/>
            </p:nvGrpSpPr>
            <p:grpSpPr>
              <a:xfrm>
                <a:off x="5016383" y="3383830"/>
                <a:ext cx="3522049" cy="555865"/>
                <a:chOff x="5008763" y="4054390"/>
                <a:chExt cx="3522049" cy="555865"/>
              </a:xfrm>
            </p:grpSpPr>
            <p:grpSp>
              <p:nvGrpSpPr>
                <p:cNvPr id="75" name="Group 74">
                  <a:extLst>
                    <a:ext uri="{FF2B5EF4-FFF2-40B4-BE49-F238E27FC236}">
                      <a16:creationId xmlns:a16="http://schemas.microsoft.com/office/drawing/2014/main" id="{7E5B7FAC-EE3F-08BF-0850-84DDDEB34D50}"/>
                    </a:ext>
                  </a:extLst>
                </p:cNvPr>
                <p:cNvGrpSpPr/>
                <p:nvPr/>
              </p:nvGrpSpPr>
              <p:grpSpPr>
                <a:xfrm>
                  <a:off x="5008763" y="4054390"/>
                  <a:ext cx="529781" cy="529781"/>
                  <a:chOff x="8156699" y="1967378"/>
                  <a:chExt cx="529781" cy="529781"/>
                </a:xfrm>
              </p:grpSpPr>
              <p:sp>
                <p:nvSpPr>
                  <p:cNvPr id="77" name="Oval 23" descr="Coins outline">
                    <a:extLst>
                      <a:ext uri="{FF2B5EF4-FFF2-40B4-BE49-F238E27FC236}">
                        <a16:creationId xmlns:a16="http://schemas.microsoft.com/office/drawing/2014/main" id="{CA62F23B-6488-9217-A811-35E50C419381}"/>
                      </a:ext>
                    </a:extLst>
                  </p:cNvPr>
                  <p:cNvSpPr/>
                  <p:nvPr/>
                </p:nvSpPr>
                <p:spPr>
                  <a:xfrm>
                    <a:off x="8156699" y="1967378"/>
                    <a:ext cx="529781" cy="529781"/>
                  </a:xfrm>
                  <a:prstGeom prst="ellipse">
                    <a:avLst/>
                  </a:prstGeom>
                  <a:solidFill>
                    <a:srgbClr val="FFFFFF"/>
                  </a:solidFill>
                  <a:ln>
                    <a:solidFill>
                      <a:schemeClr val="accent4"/>
                    </a:solidFill>
                  </a:ln>
                </p:spPr>
                <p:style>
                  <a:lnRef idx="2">
                    <a:schemeClr val="lt1">
                      <a:hueOff val="0"/>
                      <a:satOff val="0"/>
                      <a:lumOff val="0"/>
                      <a:alphaOff val="0"/>
                    </a:schemeClr>
                  </a:lnRef>
                  <a:fillRef idx="1">
                    <a:scrgbClr r="0" g="0" b="0"/>
                  </a:fillRef>
                  <a:effectRef idx="0">
                    <a:schemeClr val="accent1">
                      <a:tint val="50000"/>
                      <a:hueOff val="0"/>
                      <a:satOff val="0"/>
                      <a:lumOff val="0"/>
                      <a:alphaOff val="0"/>
                    </a:schemeClr>
                  </a:effectRef>
                  <a:fontRef idx="minor">
                    <a:schemeClr val="lt1">
                      <a:hueOff val="0"/>
                      <a:satOff val="0"/>
                      <a:lumOff val="0"/>
                      <a:alphaOff val="0"/>
                    </a:schemeClr>
                  </a:fontRef>
                </p:style>
                <p:txBody>
                  <a:bodyPr/>
                  <a:lstStyle/>
                  <a:p>
                    <a:endParaRPr lang="en-GB" dirty="0"/>
                  </a:p>
                </p:txBody>
              </p:sp>
              <p:pic>
                <p:nvPicPr>
                  <p:cNvPr id="78" name="Graphic 38" descr="Coins outline">
                    <a:extLst>
                      <a:ext uri="{FF2B5EF4-FFF2-40B4-BE49-F238E27FC236}">
                        <a16:creationId xmlns:a16="http://schemas.microsoft.com/office/drawing/2014/main" id="{75D7757C-E0AD-C73C-DF23-440F55D7A806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>
                    <a:extLst>
                      <a:ext uri="{96DAC541-7B7A-43D3-8B79-37D633B846F1}">
                        <asvg:svgBlip xmlns:asvg="http://schemas.microsoft.com/office/drawing/2016/SVG/main" r:embed="rId7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8220670" y="2031350"/>
                    <a:ext cx="401838" cy="401838"/>
                  </a:xfrm>
                  <a:prstGeom prst="rect">
                    <a:avLst/>
                  </a:prstGeom>
                </p:spPr>
              </p:pic>
            </p:grpSp>
            <p:sp>
              <p:nvSpPr>
                <p:cNvPr id="76" name="Rectangle 22">
                  <a:extLst>
                    <a:ext uri="{FF2B5EF4-FFF2-40B4-BE49-F238E27FC236}">
                      <a16:creationId xmlns:a16="http://schemas.microsoft.com/office/drawing/2014/main" id="{D7FCFDEA-450D-94CD-18E8-CD2092D1C4D7}"/>
                    </a:ext>
                  </a:extLst>
                </p:cNvPr>
                <p:cNvSpPr/>
                <p:nvPr/>
              </p:nvSpPr>
              <p:spPr>
                <a:xfrm>
                  <a:off x="5623012" y="4056257"/>
                  <a:ext cx="2907800" cy="553998"/>
                </a:xfrm>
                <a:prstGeom prst="rect">
                  <a:avLst/>
                </a:prstGeom>
              </p:spPr>
              <p:txBody>
                <a:bodyPr vert="horz" wrap="square" lIns="0" tIns="0" rIns="0" bIns="0" rtlCol="0" anchor="t">
                  <a:spAutoFit/>
                </a:bodyPr>
                <a:lstStyle/>
                <a:p>
                  <a:pPr defTabSz="685800">
                    <a:spcBef>
                      <a:spcPts val="800"/>
                    </a:spcBef>
                    <a:spcAft>
                      <a:spcPct val="35000"/>
                    </a:spcAft>
                  </a:pPr>
                  <a:r>
                    <a:rPr lang="en-GB" sz="1200" dirty="0"/>
                    <a:t>Covering 100% of enrolment fee and examination fees for all five EQE exams, for one sitting each</a:t>
                  </a:r>
                </a:p>
              </p:txBody>
            </p:sp>
          </p:grpSp>
        </p:grpSp>
        <p:cxnSp>
          <p:nvCxnSpPr>
            <p:cNvPr id="37" name="Straight Connector 36">
              <a:extLst>
                <a:ext uri="{FF2B5EF4-FFF2-40B4-BE49-F238E27FC236}">
                  <a16:creationId xmlns:a16="http://schemas.microsoft.com/office/drawing/2014/main" id="{83C0E8B1-CDEC-391E-02FA-68A0E6ABC5B3}"/>
                </a:ext>
              </a:extLst>
            </p:cNvPr>
            <p:cNvCxnSpPr/>
            <p:nvPr/>
          </p:nvCxnSpPr>
          <p:spPr>
            <a:xfrm flipH="1">
              <a:off x="4743336" y="1502413"/>
              <a:ext cx="565" cy="3077843"/>
            </a:xfrm>
            <a:prstGeom prst="line">
              <a:avLst/>
            </a:prstGeom>
            <a:ln w="19050">
              <a:solidFill>
                <a:schemeClr val="accent2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41" name="Group 40">
              <a:extLst>
                <a:ext uri="{FF2B5EF4-FFF2-40B4-BE49-F238E27FC236}">
                  <a16:creationId xmlns:a16="http://schemas.microsoft.com/office/drawing/2014/main" id="{D44173D4-59F4-43A4-D052-9B8C88F0DAC7}"/>
                </a:ext>
              </a:extLst>
            </p:cNvPr>
            <p:cNvGrpSpPr/>
            <p:nvPr/>
          </p:nvGrpSpPr>
          <p:grpSpPr>
            <a:xfrm>
              <a:off x="694321" y="3194053"/>
              <a:ext cx="3822897" cy="1225232"/>
              <a:chOff x="686701" y="1479553"/>
              <a:chExt cx="3822897" cy="1225232"/>
            </a:xfrm>
          </p:grpSpPr>
          <p:sp>
            <p:nvSpPr>
              <p:cNvPr id="49" name="Rectangle 48">
                <a:extLst>
                  <a:ext uri="{FF2B5EF4-FFF2-40B4-BE49-F238E27FC236}">
                    <a16:creationId xmlns:a16="http://schemas.microsoft.com/office/drawing/2014/main" id="{480338E4-C2F3-A2CE-CCCF-0C23B1F8EFD2}"/>
                  </a:ext>
                </a:extLst>
              </p:cNvPr>
              <p:cNvSpPr/>
              <p:nvPr/>
            </p:nvSpPr>
            <p:spPr>
              <a:xfrm>
                <a:off x="686701" y="1479553"/>
                <a:ext cx="3822897" cy="482597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sp>
            <p:nvSpPr>
              <p:cNvPr id="56" name="Inhaltsplatzhalter 17">
                <a:extLst>
                  <a:ext uri="{FF2B5EF4-FFF2-40B4-BE49-F238E27FC236}">
                    <a16:creationId xmlns:a16="http://schemas.microsoft.com/office/drawing/2014/main" id="{7A164BFA-78D1-BAB8-0BD2-641E1BE870FB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896006" y="1509415"/>
                <a:ext cx="3404286" cy="422873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>
                <a:lvl1pPr marL="0" indent="0" algn="l" defTabSz="685800" rtl="0" eaLnBrk="1" latinLnBrk="0" hangingPunct="1">
                  <a:lnSpc>
                    <a:spcPct val="120000"/>
                  </a:lnSpc>
                  <a:spcBef>
                    <a:spcPts val="800"/>
                  </a:spcBef>
                  <a:buFont typeface="Arial" panose="020B0604020202020204" pitchFamily="34" charset="0"/>
                  <a:buNone/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04000" indent="-180000" algn="l" defTabSz="685800" rtl="0" eaLnBrk="1" latinLnBrk="0" hangingPunct="1">
                  <a:lnSpc>
                    <a:spcPct val="120000"/>
                  </a:lnSpc>
                  <a:spcBef>
                    <a:spcPts val="800"/>
                  </a:spcBef>
                  <a:buClr>
                    <a:schemeClr val="accent6"/>
                  </a:buClr>
                  <a:buSzPct val="100000"/>
                  <a:buFont typeface="Wingdings" panose="05000000000000000000" pitchFamily="2" charset="2"/>
                  <a:buChar char="n"/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684000" indent="-180000" algn="l" defTabSz="685800" rtl="0" eaLnBrk="1" latinLnBrk="0" hangingPunct="1">
                  <a:lnSpc>
                    <a:spcPct val="120000"/>
                  </a:lnSpc>
                  <a:spcBef>
                    <a:spcPts val="800"/>
                  </a:spcBef>
                  <a:buClr>
                    <a:schemeClr val="accent6"/>
                  </a:buClr>
                  <a:buSzPct val="100000"/>
                  <a:buFont typeface="Wingdings" panose="05000000000000000000" pitchFamily="2" charset="2"/>
                  <a:buChar char="n"/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864000" indent="-180000" algn="l" defTabSz="685800" rtl="0" eaLnBrk="1" latinLnBrk="0" hangingPunct="1">
                  <a:lnSpc>
                    <a:spcPct val="120000"/>
                  </a:lnSpc>
                  <a:spcBef>
                    <a:spcPts val="800"/>
                  </a:spcBef>
                  <a:buClr>
                    <a:schemeClr val="accent6"/>
                  </a:buClr>
                  <a:buSzPct val="100000"/>
                  <a:buFont typeface="Wingdings" panose="05000000000000000000" pitchFamily="2" charset="2"/>
                  <a:buChar char="n"/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044000" indent="-180000" algn="l" defTabSz="685800" rtl="0" eaLnBrk="1" latinLnBrk="0" hangingPunct="1">
                  <a:lnSpc>
                    <a:spcPct val="120000"/>
                  </a:lnSpc>
                  <a:spcBef>
                    <a:spcPts val="800"/>
                  </a:spcBef>
                  <a:buClr>
                    <a:schemeClr val="accent6"/>
                  </a:buClr>
                  <a:buSzPct val="100000"/>
                  <a:buFont typeface="Wingdings" panose="05000000000000000000" pitchFamily="2" charset="2"/>
                  <a:buChar char="n"/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1885950" indent="-171450" algn="l" defTabSz="685800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228850" indent="-171450" algn="l" defTabSz="685800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571750" indent="-171450" algn="l" defTabSz="685800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2914650" indent="-171450" algn="l" defTabSz="685800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r>
                  <a:rPr lang="en-GB" sz="1200" b="1" dirty="0"/>
                  <a:t>3-year programme aligned with modular EQE format</a:t>
                </a:r>
              </a:p>
            </p:txBody>
          </p:sp>
          <p:grpSp>
            <p:nvGrpSpPr>
              <p:cNvPr id="57" name="Group 56">
                <a:extLst>
                  <a:ext uri="{FF2B5EF4-FFF2-40B4-BE49-F238E27FC236}">
                    <a16:creationId xmlns:a16="http://schemas.microsoft.com/office/drawing/2014/main" id="{9A327B03-11D5-53D7-CC8B-F82BD83828A4}"/>
                  </a:ext>
                </a:extLst>
              </p:cNvPr>
              <p:cNvGrpSpPr/>
              <p:nvPr/>
            </p:nvGrpSpPr>
            <p:grpSpPr>
              <a:xfrm>
                <a:off x="686701" y="2108535"/>
                <a:ext cx="3822897" cy="596250"/>
                <a:chOff x="686701" y="2116155"/>
                <a:chExt cx="3822897" cy="596250"/>
              </a:xfrm>
            </p:grpSpPr>
            <p:pic>
              <p:nvPicPr>
                <p:cNvPr id="58" name="Graphic 14" descr="Address Book outline">
                  <a:extLst>
                    <a:ext uri="{FF2B5EF4-FFF2-40B4-BE49-F238E27FC236}">
                      <a16:creationId xmlns:a16="http://schemas.microsoft.com/office/drawing/2014/main" id="{8B9D8A81-0EE1-5217-AC51-BBDEC0A875EF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>
                  <a:extLst>
                    <a:ext uri="{96DAC541-7B7A-43D3-8B79-37D633B846F1}">
                      <asvg:svgBlip xmlns:asvg="http://schemas.microsoft.com/office/drawing/2016/SVG/main" r:embed="rId8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86701" y="2126338"/>
                  <a:ext cx="526772" cy="575885"/>
                </a:xfrm>
                <a:prstGeom prst="rect">
                  <a:avLst/>
                </a:prstGeom>
              </p:spPr>
            </p:pic>
            <p:sp>
              <p:nvSpPr>
                <p:cNvPr id="59" name="Isosceles Triangle 8">
                  <a:extLst>
                    <a:ext uri="{FF2B5EF4-FFF2-40B4-BE49-F238E27FC236}">
                      <a16:creationId xmlns:a16="http://schemas.microsoft.com/office/drawing/2014/main" id="{DC1D978F-EE1D-0032-6359-D7B3C60E9508}"/>
                    </a:ext>
                  </a:extLst>
                </p:cNvPr>
                <p:cNvSpPr/>
                <p:nvPr/>
              </p:nvSpPr>
              <p:spPr>
                <a:xfrm rot="5400000">
                  <a:off x="1126420" y="2348620"/>
                  <a:ext cx="325848" cy="131321"/>
                </a:xfrm>
                <a:prstGeom prst="triangle">
                  <a:avLst/>
                </a:prstGeom>
                <a:solidFill>
                  <a:srgbClr val="337878"/>
                </a:solidFill>
                <a:ln w="12700">
                  <a:miter lim="400000"/>
                </a:ln>
              </p:spPr>
              <p:txBody>
                <a:bodyPr lIns="45719" rIns="45719" anchor="ctr"/>
                <a:lstStyle/>
                <a:p>
                  <a:pPr algn="ctr">
                    <a:defRPr>
                      <a:solidFill>
                        <a:srgbClr val="FFFFFF"/>
                      </a:solidFill>
                    </a:defRPr>
                  </a:pPr>
                  <a:endParaRPr lang="en-GB" dirty="0"/>
                </a:p>
              </p:txBody>
            </p:sp>
            <p:sp>
              <p:nvSpPr>
                <p:cNvPr id="60" name="Arrow: Right 48">
                  <a:extLst>
                    <a:ext uri="{FF2B5EF4-FFF2-40B4-BE49-F238E27FC236}">
                      <a16:creationId xmlns:a16="http://schemas.microsoft.com/office/drawing/2014/main" id="{0A451DD8-A862-31E0-6721-438CAB20B008}"/>
                    </a:ext>
                  </a:extLst>
                </p:cNvPr>
                <p:cNvSpPr/>
                <p:nvPr/>
              </p:nvSpPr>
              <p:spPr>
                <a:xfrm>
                  <a:off x="1430017" y="2116155"/>
                  <a:ext cx="3079581" cy="596250"/>
                </a:xfrm>
                <a:prstGeom prst="homePlate">
                  <a:avLst>
                    <a:gd name="adj" fmla="val 32853"/>
                  </a:avLst>
                </a:prstGeom>
                <a:solidFill>
                  <a:schemeClr val="accent4">
                    <a:lumMod val="20000"/>
                    <a:lumOff val="80000"/>
                  </a:schemeClr>
                </a:solidFill>
              </p:spPr>
              <p:style>
                <a:lnRef idx="0">
                  <a:schemeClr val="accent1">
                    <a:hueOff val="0"/>
                    <a:satOff val="0"/>
                    <a:lumOff val="0"/>
                    <a:alphaOff val="0"/>
                  </a:schemeClr>
                </a:lnRef>
                <a:fillRef idx="1">
                  <a:schemeClr val="accent1">
                    <a:tint val="40000"/>
                    <a:hueOff val="0"/>
                    <a:satOff val="0"/>
                    <a:lumOff val="0"/>
                    <a:alphaOff val="0"/>
                  </a:schemeClr>
                </a:fillRef>
                <a:effectRef idx="0">
                  <a:schemeClr val="accent1">
                    <a:tint val="40000"/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dk1">
                    <a:hueOff val="0"/>
                    <a:satOff val="0"/>
                    <a:lumOff val="0"/>
                    <a:alphaOff val="0"/>
                  </a:schemeClr>
                </a:fontRef>
              </p:style>
              <p:txBody>
                <a:bodyPr/>
                <a:lstStyle/>
                <a:p>
                  <a:endParaRPr lang="en-GB" dirty="0"/>
                </a:p>
              </p:txBody>
            </p:sp>
            <p:sp>
              <p:nvSpPr>
                <p:cNvPr id="61" name="Rectangle 49">
                  <a:extLst>
                    <a:ext uri="{FF2B5EF4-FFF2-40B4-BE49-F238E27FC236}">
                      <a16:creationId xmlns:a16="http://schemas.microsoft.com/office/drawing/2014/main" id="{BD8461CD-3A0C-4AE5-63A0-37BFBCBD2300}"/>
                    </a:ext>
                  </a:extLst>
                </p:cNvPr>
                <p:cNvSpPr/>
                <p:nvPr/>
              </p:nvSpPr>
              <p:spPr>
                <a:xfrm>
                  <a:off x="1486940" y="2206895"/>
                  <a:ext cx="774396" cy="414768"/>
                </a:xfrm>
                <a:prstGeom prst="rect">
                  <a:avLst/>
                </a:prstGeom>
                <a:noFill/>
                <a:ln>
                  <a:noFill/>
                </a:ln>
              </p:spPr>
              <p:style>
                <a:lnRef idx="2">
                  <a:schemeClr val="lt1">
                    <a:hueOff val="0"/>
                    <a:satOff val="0"/>
                    <a:lumOff val="0"/>
                    <a:alphaOff val="0"/>
                  </a:schemeClr>
                </a:lnRef>
                <a:fillRef idx="1">
                  <a:schemeClr val="accent1">
                    <a:hueOff val="0"/>
                    <a:satOff val="0"/>
                    <a:lumOff val="0"/>
                    <a:alphaOff val="0"/>
                  </a:schemeClr>
                </a:fillRef>
                <a:effectRef idx="0">
                  <a:schemeClr val="accent1"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lt1"/>
                </a:fontRef>
              </p:style>
              <p:txBody>
                <a:bodyPr spcFirstLastPara="0" vert="horz" wrap="square" lIns="65967" tIns="65967" rIns="65967" bIns="65967" numCol="1" spcCol="1270" anchor="ctr" anchorCtr="0">
                  <a:noAutofit/>
                </a:bodyPr>
                <a:lstStyle/>
                <a:p>
                  <a:pPr marL="0" lvl="0" indent="0" algn="ctr" defTabSz="533400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35000"/>
                    </a:spcAft>
                    <a:buNone/>
                  </a:pPr>
                  <a:r>
                    <a:rPr lang="en-GB" sz="1200" kern="1200" dirty="0">
                      <a:solidFill>
                        <a:schemeClr val="tx1"/>
                      </a:solidFill>
                    </a:rPr>
                    <a:t>Paper F</a:t>
                  </a:r>
                  <a:br>
                    <a:rPr lang="en-GB" sz="1200" kern="1200" dirty="0"/>
                  </a:br>
                  <a:r>
                    <a:rPr lang="en-GB" sz="1200" kern="1200" dirty="0">
                      <a:solidFill>
                        <a:schemeClr val="tx1"/>
                      </a:solidFill>
                    </a:rPr>
                    <a:t>in </a:t>
                  </a:r>
                  <a:r>
                    <a:rPr lang="en-GB" sz="1200" b="1" kern="1200" dirty="0">
                      <a:solidFill>
                        <a:schemeClr val="tx1"/>
                      </a:solidFill>
                    </a:rPr>
                    <a:t>Year 1</a:t>
                  </a:r>
                </a:p>
              </p:txBody>
            </p:sp>
            <p:sp>
              <p:nvSpPr>
                <p:cNvPr id="62" name="Rectangle 50">
                  <a:extLst>
                    <a:ext uri="{FF2B5EF4-FFF2-40B4-BE49-F238E27FC236}">
                      <a16:creationId xmlns:a16="http://schemas.microsoft.com/office/drawing/2014/main" id="{770BE978-FC79-15D5-60F8-0C2F4DCC1A86}"/>
                    </a:ext>
                  </a:extLst>
                </p:cNvPr>
                <p:cNvSpPr/>
                <p:nvPr/>
              </p:nvSpPr>
              <p:spPr>
                <a:xfrm>
                  <a:off x="2520064" y="2206895"/>
                  <a:ext cx="774396" cy="414768"/>
                </a:xfrm>
                <a:prstGeom prst="rect">
                  <a:avLst/>
                </a:prstGeom>
                <a:noFill/>
                <a:ln>
                  <a:noFill/>
                </a:ln>
              </p:spPr>
              <p:style>
                <a:lnRef idx="2">
                  <a:schemeClr val="lt1">
                    <a:hueOff val="0"/>
                    <a:satOff val="0"/>
                    <a:lumOff val="0"/>
                    <a:alphaOff val="0"/>
                  </a:schemeClr>
                </a:lnRef>
                <a:fillRef idx="1">
                  <a:schemeClr val="accent1">
                    <a:hueOff val="0"/>
                    <a:satOff val="0"/>
                    <a:lumOff val="0"/>
                    <a:alphaOff val="0"/>
                  </a:schemeClr>
                </a:fillRef>
                <a:effectRef idx="0">
                  <a:schemeClr val="accent1"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lt1"/>
                </a:fontRef>
              </p:style>
              <p:txBody>
                <a:bodyPr spcFirstLastPara="0" vert="horz" wrap="square" lIns="65967" tIns="65967" rIns="65967" bIns="65967" numCol="1" spcCol="1270" anchor="ctr" anchorCtr="0">
                  <a:noAutofit/>
                </a:bodyPr>
                <a:lstStyle/>
                <a:p>
                  <a:pPr marL="0" lvl="0" indent="0" algn="ctr" defTabSz="533400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35000"/>
                    </a:spcAft>
                    <a:buNone/>
                  </a:pPr>
                  <a:r>
                    <a:rPr lang="en-GB" sz="1200" kern="1200" dirty="0">
                      <a:solidFill>
                        <a:schemeClr val="tx1"/>
                      </a:solidFill>
                    </a:rPr>
                    <a:t>M1, M2</a:t>
                  </a:r>
                  <a:br>
                    <a:rPr lang="en-GB" sz="1200" kern="1200" dirty="0"/>
                  </a:br>
                  <a:r>
                    <a:rPr lang="en-GB" sz="1200" kern="1200" dirty="0">
                      <a:solidFill>
                        <a:schemeClr val="tx1"/>
                      </a:solidFill>
                    </a:rPr>
                    <a:t>in </a:t>
                  </a:r>
                  <a:r>
                    <a:rPr lang="en-GB" sz="1200" b="1" kern="1200" dirty="0">
                      <a:solidFill>
                        <a:schemeClr val="tx1"/>
                      </a:solidFill>
                    </a:rPr>
                    <a:t>Year 2</a:t>
                  </a:r>
                </a:p>
              </p:txBody>
            </p:sp>
            <p:sp>
              <p:nvSpPr>
                <p:cNvPr id="70" name="Rectangle 51">
                  <a:extLst>
                    <a:ext uri="{FF2B5EF4-FFF2-40B4-BE49-F238E27FC236}">
                      <a16:creationId xmlns:a16="http://schemas.microsoft.com/office/drawing/2014/main" id="{120E673D-46A1-2A63-0120-37256303FD38}"/>
                    </a:ext>
                  </a:extLst>
                </p:cNvPr>
                <p:cNvSpPr/>
                <p:nvPr/>
              </p:nvSpPr>
              <p:spPr>
                <a:xfrm>
                  <a:off x="3553189" y="2206895"/>
                  <a:ext cx="774396" cy="414768"/>
                </a:xfrm>
                <a:prstGeom prst="rect">
                  <a:avLst/>
                </a:prstGeom>
                <a:noFill/>
                <a:ln>
                  <a:noFill/>
                </a:ln>
              </p:spPr>
              <p:style>
                <a:lnRef idx="2">
                  <a:schemeClr val="lt1">
                    <a:hueOff val="0"/>
                    <a:satOff val="0"/>
                    <a:lumOff val="0"/>
                    <a:alphaOff val="0"/>
                  </a:schemeClr>
                </a:lnRef>
                <a:fillRef idx="1">
                  <a:schemeClr val="accent1">
                    <a:hueOff val="0"/>
                    <a:satOff val="0"/>
                    <a:lumOff val="0"/>
                    <a:alphaOff val="0"/>
                  </a:schemeClr>
                </a:fillRef>
                <a:effectRef idx="0">
                  <a:schemeClr val="accent1"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lt1"/>
                </a:fontRef>
              </p:style>
              <p:txBody>
                <a:bodyPr spcFirstLastPara="0" vert="horz" wrap="square" lIns="65967" tIns="65967" rIns="65967" bIns="65967" numCol="1" spcCol="1270" anchor="ctr" anchorCtr="0">
                  <a:noAutofit/>
                </a:bodyPr>
                <a:lstStyle/>
                <a:p>
                  <a:pPr marL="0" lvl="0" indent="0" algn="ctr" defTabSz="533400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35000"/>
                    </a:spcAft>
                    <a:buNone/>
                  </a:pPr>
                  <a:r>
                    <a:rPr lang="en-GB" sz="1200" kern="1200" dirty="0">
                      <a:solidFill>
                        <a:schemeClr val="tx1"/>
                      </a:solidFill>
                    </a:rPr>
                    <a:t>M3, M4</a:t>
                  </a:r>
                  <a:br>
                    <a:rPr lang="en-GB" sz="1200" kern="1200" dirty="0"/>
                  </a:br>
                  <a:r>
                    <a:rPr lang="en-GB" sz="1200" kern="1200" dirty="0">
                      <a:solidFill>
                        <a:schemeClr val="tx1"/>
                      </a:solidFill>
                    </a:rPr>
                    <a:t>in </a:t>
                  </a:r>
                  <a:r>
                    <a:rPr lang="en-GB" sz="1200" b="1" kern="1200" dirty="0">
                      <a:solidFill>
                        <a:schemeClr val="tx1"/>
                      </a:solidFill>
                    </a:rPr>
                    <a:t>Year 3</a:t>
                  </a:r>
                </a:p>
              </p:txBody>
            </p:sp>
            <p:cxnSp>
              <p:nvCxnSpPr>
                <p:cNvPr id="71" name="Gerader Verbinder 102">
                  <a:extLst>
                    <a:ext uri="{FF2B5EF4-FFF2-40B4-BE49-F238E27FC236}">
                      <a16:creationId xmlns:a16="http://schemas.microsoft.com/office/drawing/2014/main" id="{3CAE7EE9-F0E4-E807-29C3-80C1D37DF4DE}"/>
                    </a:ext>
                  </a:extLst>
                </p:cNvPr>
                <p:cNvCxnSpPr/>
                <p:nvPr/>
              </p:nvCxnSpPr>
              <p:spPr>
                <a:xfrm>
                  <a:off x="2390700" y="2206895"/>
                  <a:ext cx="0" cy="414768"/>
                </a:xfrm>
                <a:prstGeom prst="line">
                  <a:avLst/>
                </a:prstGeom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72" name="Gerader Verbinder 104">
                  <a:extLst>
                    <a:ext uri="{FF2B5EF4-FFF2-40B4-BE49-F238E27FC236}">
                      <a16:creationId xmlns:a16="http://schemas.microsoft.com/office/drawing/2014/main" id="{569BB93F-B0CE-C314-534E-D21AECE3A3C2}"/>
                    </a:ext>
                  </a:extLst>
                </p:cNvPr>
                <p:cNvCxnSpPr/>
                <p:nvPr/>
              </p:nvCxnSpPr>
              <p:spPr>
                <a:xfrm>
                  <a:off x="3423824" y="2206895"/>
                  <a:ext cx="0" cy="414768"/>
                </a:xfrm>
                <a:prstGeom prst="line">
                  <a:avLst/>
                </a:prstGeom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</p:grpSp>
    </p:spTree>
    <p:extLst>
      <p:ext uri="{BB962C8B-B14F-4D97-AF65-F5344CB8AC3E}">
        <p14:creationId xmlns:p14="http://schemas.microsoft.com/office/powerpoint/2010/main" val="177333012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B7E9B06-83B6-9987-35BC-B1019B66945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DC31E35-4BDB-477B-618B-405FA8C9D38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6701" y="804213"/>
            <a:ext cx="8114400" cy="314312"/>
          </a:xfrm>
        </p:spPr>
        <p:txBody>
          <a:bodyPr/>
          <a:lstStyle/>
          <a:p>
            <a:r>
              <a:rPr lang="en-GB" dirty="0"/>
              <a:t>OPERATIONAL DEADLINES FOR CSP ON EQE 2027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D53FC186-C8AE-933A-5C40-F21A5746ED6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401101" y="481662"/>
            <a:ext cx="5400000" cy="167675"/>
          </a:xfrm>
        </p:spPr>
        <p:txBody>
          <a:bodyPr/>
          <a:lstStyle/>
          <a:p>
            <a:r>
              <a:rPr lang="en-US" dirty="0"/>
              <a:t>CANDIDATE SUPPORT PROGRAMME (CSP – EQE)</a:t>
            </a:r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EABA879-F0F8-BAF7-08EE-753628174AB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261101" y="4640518"/>
            <a:ext cx="540000" cy="123111"/>
          </a:xfrm>
        </p:spPr>
        <p:txBody>
          <a:bodyPr/>
          <a:lstStyle/>
          <a:p>
            <a:fld id="{B6EAC15D-B94B-4B86-ABD3-3EDECDB333F5}" type="slidenum">
              <a:rPr lang="en-GB" smtClean="0"/>
              <a:pPr/>
              <a:t>5</a:t>
            </a:fld>
            <a:endParaRPr lang="en-GB" dirty="0"/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8FDDA2F4-51D1-9FF1-9720-FD0580BBEBF9}"/>
              </a:ext>
            </a:extLst>
          </p:cNvPr>
          <p:cNvGrpSpPr/>
          <p:nvPr/>
        </p:nvGrpSpPr>
        <p:grpSpPr>
          <a:xfrm>
            <a:off x="680912" y="3600976"/>
            <a:ext cx="1984249" cy="307777"/>
            <a:chOff x="684331" y="4368352"/>
            <a:chExt cx="1984249" cy="307777"/>
          </a:xfrm>
        </p:grpSpPr>
        <p:sp>
          <p:nvSpPr>
            <p:cNvPr id="15" name="Textfeld 443">
              <a:extLst>
                <a:ext uri="{FF2B5EF4-FFF2-40B4-BE49-F238E27FC236}">
                  <a16:creationId xmlns:a16="http://schemas.microsoft.com/office/drawing/2014/main" id="{F4733958-CDCF-9247-B281-D72A374EDCC8}"/>
                </a:ext>
              </a:extLst>
            </p:cNvPr>
            <p:cNvSpPr txBox="1"/>
            <p:nvPr/>
          </p:nvSpPr>
          <p:spPr>
            <a:xfrm>
              <a:off x="970350" y="4368352"/>
              <a:ext cx="1698230" cy="307777"/>
            </a:xfrm>
            <a:prstGeom prst="rect">
              <a:avLst/>
            </a:prstGeom>
          </p:spPr>
          <p:txBody>
            <a:bodyPr wrap="square" lIns="0" tIns="0" rIns="0" bIns="0" rtlCol="0" anchor="ctr" anchorCtr="0">
              <a:spAutoFit/>
            </a:bodyPr>
            <a:lstStyle/>
            <a:p>
              <a:r>
                <a:rPr lang="en-GB" sz="1000" dirty="0">
                  <a:cs typeface="Arial"/>
                </a:rPr>
                <a:t>NPO share the names of selected candidates</a:t>
              </a:r>
            </a:p>
          </p:txBody>
        </p:sp>
        <p:grpSp>
          <p:nvGrpSpPr>
            <p:cNvPr id="47" name="Group 46">
              <a:extLst>
                <a:ext uri="{FF2B5EF4-FFF2-40B4-BE49-F238E27FC236}">
                  <a16:creationId xmlns:a16="http://schemas.microsoft.com/office/drawing/2014/main" id="{2A986C97-8B06-9AB3-E121-075D0EE20AA8}"/>
                </a:ext>
              </a:extLst>
            </p:cNvPr>
            <p:cNvGrpSpPr/>
            <p:nvPr/>
          </p:nvGrpSpPr>
          <p:grpSpPr>
            <a:xfrm>
              <a:off x="684331" y="4371241"/>
              <a:ext cx="223723" cy="216000"/>
              <a:chOff x="10075426" y="2746185"/>
              <a:chExt cx="223723" cy="216000"/>
            </a:xfrm>
          </p:grpSpPr>
          <p:sp>
            <p:nvSpPr>
              <p:cNvPr id="18" name="Freeform 71">
                <a:extLst>
                  <a:ext uri="{FF2B5EF4-FFF2-40B4-BE49-F238E27FC236}">
                    <a16:creationId xmlns:a16="http://schemas.microsoft.com/office/drawing/2014/main" id="{6029E3BE-00D5-9701-0809-F4790B207C5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075426" y="2746185"/>
                <a:ext cx="216000" cy="216000"/>
              </a:xfrm>
              <a:prstGeom prst="rect">
                <a:avLst/>
              </a:prstGeom>
              <a:solidFill>
                <a:schemeClr val="tx1"/>
              </a:solidFill>
              <a:ln>
                <a:noFill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defTabSz="1219140">
                  <a:defRPr/>
                </a:pPr>
                <a:endParaRPr lang="en-GB" sz="1400" kern="0" dirty="0">
                  <a:latin typeface="Arial"/>
                </a:endParaRPr>
              </a:p>
            </p:txBody>
          </p:sp>
          <p:pic>
            <p:nvPicPr>
              <p:cNvPr id="44" name="Graphic 43" descr="Court outline">
                <a:extLst>
                  <a:ext uri="{FF2B5EF4-FFF2-40B4-BE49-F238E27FC236}">
                    <a16:creationId xmlns:a16="http://schemas.microsoft.com/office/drawing/2014/main" id="{4DE5CEE8-79CC-A0B8-D923-48CAD41B1CF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>
                <a:extLs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10083149" y="2746185"/>
                <a:ext cx="216000" cy="216000"/>
              </a:xfrm>
              <a:prstGeom prst="rect">
                <a:avLst/>
              </a:prstGeom>
            </p:spPr>
          </p:pic>
        </p:grpSp>
      </p:grpSp>
      <p:grpSp>
        <p:nvGrpSpPr>
          <p:cNvPr id="7" name="Group 6">
            <a:extLst>
              <a:ext uri="{FF2B5EF4-FFF2-40B4-BE49-F238E27FC236}">
                <a16:creationId xmlns:a16="http://schemas.microsoft.com/office/drawing/2014/main" id="{9145CBC5-2B2A-4EB1-E5FB-DA0ACAD78E15}"/>
              </a:ext>
            </a:extLst>
          </p:cNvPr>
          <p:cNvGrpSpPr/>
          <p:nvPr/>
        </p:nvGrpSpPr>
        <p:grpSpPr>
          <a:xfrm>
            <a:off x="7799721" y="4377065"/>
            <a:ext cx="900980" cy="216000"/>
            <a:chOff x="2135966" y="4371875"/>
            <a:chExt cx="900980" cy="216000"/>
          </a:xfrm>
        </p:grpSpPr>
        <p:sp>
          <p:nvSpPr>
            <p:cNvPr id="13" name="Textfeld 460">
              <a:extLst>
                <a:ext uri="{FF2B5EF4-FFF2-40B4-BE49-F238E27FC236}">
                  <a16:creationId xmlns:a16="http://schemas.microsoft.com/office/drawing/2014/main" id="{E2B67010-5DF4-1410-CE25-925354821A33}"/>
                </a:ext>
              </a:extLst>
            </p:cNvPr>
            <p:cNvSpPr txBox="1"/>
            <p:nvPr/>
          </p:nvSpPr>
          <p:spPr>
            <a:xfrm>
              <a:off x="2409210" y="4402931"/>
              <a:ext cx="627736" cy="153888"/>
            </a:xfrm>
            <a:prstGeom prst="rect">
              <a:avLst/>
            </a:prstGeom>
          </p:spPr>
          <p:txBody>
            <a:bodyPr wrap="none" lIns="0" tIns="0" rIns="0" bIns="0" rtlCol="0" anchor="ctr" anchorCtr="0">
              <a:spAutoFit/>
            </a:bodyPr>
            <a:lstStyle/>
            <a:p>
              <a:r>
                <a:rPr lang="en-GB" sz="1000" spc="-13" dirty="0">
                  <a:cs typeface="Arial"/>
                </a:rPr>
                <a:t>Candidates</a:t>
              </a:r>
            </a:p>
          </p:txBody>
        </p:sp>
        <p:grpSp>
          <p:nvGrpSpPr>
            <p:cNvPr id="76" name="Group 75">
              <a:extLst>
                <a:ext uri="{FF2B5EF4-FFF2-40B4-BE49-F238E27FC236}">
                  <a16:creationId xmlns:a16="http://schemas.microsoft.com/office/drawing/2014/main" id="{0F2B4803-88E9-2E5E-2731-1C565982D4E7}"/>
                </a:ext>
              </a:extLst>
            </p:cNvPr>
            <p:cNvGrpSpPr/>
            <p:nvPr/>
          </p:nvGrpSpPr>
          <p:grpSpPr>
            <a:xfrm>
              <a:off x="2135966" y="4371875"/>
              <a:ext cx="216000" cy="216000"/>
              <a:chOff x="7148226" y="4201514"/>
              <a:chExt cx="216000" cy="216000"/>
            </a:xfrm>
          </p:grpSpPr>
          <p:sp>
            <p:nvSpPr>
              <p:cNvPr id="77" name="Freeform 71">
                <a:extLst>
                  <a:ext uri="{FF2B5EF4-FFF2-40B4-BE49-F238E27FC236}">
                    <a16:creationId xmlns:a16="http://schemas.microsoft.com/office/drawing/2014/main" id="{8E5C794D-A05A-F51D-E5C3-FACC28DA6C3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148226" y="4201514"/>
                <a:ext cx="216000" cy="216000"/>
              </a:xfrm>
              <a:prstGeom prst="rect">
                <a:avLst/>
              </a:prstGeom>
              <a:solidFill>
                <a:srgbClr val="E06200"/>
              </a:solidFill>
              <a:ln>
                <a:noFill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defTabSz="1219140">
                  <a:defRPr/>
                </a:pPr>
                <a:endParaRPr lang="en-GB" sz="1400" kern="0" dirty="0">
                  <a:latin typeface="Arial"/>
                </a:endParaRPr>
              </a:p>
            </p:txBody>
          </p:sp>
          <p:pic>
            <p:nvPicPr>
              <p:cNvPr id="78" name="Graphic 77" descr="Clipboard with solid fill">
                <a:extLst>
                  <a:ext uri="{FF2B5EF4-FFF2-40B4-BE49-F238E27FC236}">
                    <a16:creationId xmlns:a16="http://schemas.microsoft.com/office/drawing/2014/main" id="{F9996D3D-BF32-A5C7-4EC1-C2DB39BE2EF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>
                <a:off x="7166226" y="4210984"/>
                <a:ext cx="180000" cy="180000"/>
              </a:xfrm>
              <a:prstGeom prst="rect">
                <a:avLst/>
              </a:prstGeom>
            </p:spPr>
          </p:pic>
        </p:grpSp>
      </p:grpSp>
      <p:sp>
        <p:nvSpPr>
          <p:cNvPr id="22" name="Rectangle 21">
            <a:extLst>
              <a:ext uri="{FF2B5EF4-FFF2-40B4-BE49-F238E27FC236}">
                <a16:creationId xmlns:a16="http://schemas.microsoft.com/office/drawing/2014/main" id="{99C0ED61-5F98-196F-C214-FBD9A5820DA6}"/>
              </a:ext>
            </a:extLst>
          </p:cNvPr>
          <p:cNvSpPr>
            <a:spLocks noChangeArrowheads="1"/>
          </p:cNvSpPr>
          <p:nvPr/>
        </p:nvSpPr>
        <p:spPr bwMode="auto">
          <a:xfrm>
            <a:off x="4744129" y="3692008"/>
            <a:ext cx="1990800" cy="153888"/>
          </a:xfrm>
          <a:prstGeom prst="rect">
            <a:avLst/>
          </a:prstGeom>
          <a:solidFill>
            <a:schemeClr val="bg1"/>
          </a:solidFill>
          <a:ln w="6350">
            <a:solidFill>
              <a:schemeClr val="bg2"/>
            </a:solidFill>
            <a:round/>
            <a:headEnd/>
            <a:tailEnd/>
          </a:ln>
          <a:effectLst/>
        </p:spPr>
        <p:txBody>
          <a:bodyPr lIns="0" tIns="0" rIns="0" bIns="0" anchor="t">
            <a:spAutoFit/>
          </a:bodyPr>
          <a:lstStyle/>
          <a:p>
            <a:pPr defTabSz="995363">
              <a:spcAft>
                <a:spcPct val="0"/>
              </a:spcAft>
            </a:pPr>
            <a:endParaRPr lang="en-GB" sz="1000" i="1" kern="0" dirty="0">
              <a:solidFill>
                <a:schemeClr val="accent6"/>
              </a:solidFill>
              <a:latin typeface="Arial" pitchFamily="34" charset="0"/>
            </a:endParaRP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9E125793-D453-825F-734D-377AA08FECE1}"/>
              </a:ext>
            </a:extLst>
          </p:cNvPr>
          <p:cNvSpPr txBox="1"/>
          <p:nvPr/>
        </p:nvSpPr>
        <p:spPr>
          <a:xfrm>
            <a:off x="4813567" y="3538601"/>
            <a:ext cx="1732021" cy="167675"/>
          </a:xfrm>
          <a:prstGeom prst="rect">
            <a:avLst/>
          </a:prstGeom>
          <a:noFill/>
        </p:spPr>
        <p:txBody>
          <a:bodyPr wrap="square" lIns="288000" tIns="0" rIns="0" bIns="0" rtlCol="0">
            <a:spAutoFit/>
          </a:bodyPr>
          <a:lstStyle/>
          <a:p>
            <a:pPr>
              <a:lnSpc>
                <a:spcPct val="120000"/>
              </a:lnSpc>
              <a:spcBef>
                <a:spcPts val="1200"/>
              </a:spcBef>
            </a:pPr>
            <a:r>
              <a:rPr lang="en-GB" sz="1000" dirty="0"/>
              <a:t>EQE exams </a:t>
            </a:r>
          </a:p>
        </p:txBody>
      </p:sp>
      <p:sp>
        <p:nvSpPr>
          <p:cNvPr id="32" name="AutoShape 20">
            <a:extLst>
              <a:ext uri="{FF2B5EF4-FFF2-40B4-BE49-F238E27FC236}">
                <a16:creationId xmlns:a16="http://schemas.microsoft.com/office/drawing/2014/main" id="{1001A4E2-6D3B-C9CC-4D9F-F0D696FBD4F3}"/>
              </a:ext>
            </a:extLst>
          </p:cNvPr>
          <p:cNvSpPr>
            <a:spLocks noChangeArrowheads="1"/>
          </p:cNvSpPr>
          <p:nvPr/>
        </p:nvSpPr>
        <p:spPr bwMode="auto">
          <a:xfrm>
            <a:off x="2694522" y="3251885"/>
            <a:ext cx="2028599" cy="252000"/>
          </a:xfrm>
          <a:prstGeom prst="chevron">
            <a:avLst>
              <a:gd name="adj" fmla="val 20887"/>
            </a:avLst>
          </a:prstGeom>
          <a:solidFill>
            <a:schemeClr val="accent5"/>
          </a:solidFill>
          <a:ln w="12700" algn="ctr">
            <a:noFill/>
            <a:miter lim="800000"/>
            <a:headEnd/>
            <a:tailEnd/>
          </a:ln>
          <a:effectLst/>
        </p:spPr>
        <p:txBody>
          <a:bodyPr lIns="72000" tIns="36000" rIns="36000" bIns="36000" anchor="ctr"/>
          <a:lstStyle/>
          <a:p>
            <a:r>
              <a:rPr lang="en-GB" sz="1000" b="1" dirty="0">
                <a:latin typeface="Arial"/>
                <a:cs typeface="Arial"/>
              </a:rPr>
              <a:t>from October</a:t>
            </a:r>
          </a:p>
        </p:txBody>
      </p:sp>
      <p:grpSp>
        <p:nvGrpSpPr>
          <p:cNvPr id="51" name="Group 50">
            <a:extLst>
              <a:ext uri="{FF2B5EF4-FFF2-40B4-BE49-F238E27FC236}">
                <a16:creationId xmlns:a16="http://schemas.microsoft.com/office/drawing/2014/main" id="{B3A258A2-EB0A-8DD3-6E84-B046F50525CB}"/>
              </a:ext>
            </a:extLst>
          </p:cNvPr>
          <p:cNvGrpSpPr/>
          <p:nvPr/>
        </p:nvGrpSpPr>
        <p:grpSpPr>
          <a:xfrm>
            <a:off x="2712349" y="3543290"/>
            <a:ext cx="216000" cy="216000"/>
            <a:chOff x="7148226" y="4201514"/>
            <a:chExt cx="216000" cy="216000"/>
          </a:xfrm>
        </p:grpSpPr>
        <p:sp>
          <p:nvSpPr>
            <p:cNvPr id="52" name="Freeform 71">
              <a:extLst>
                <a:ext uri="{FF2B5EF4-FFF2-40B4-BE49-F238E27FC236}">
                  <a16:creationId xmlns:a16="http://schemas.microsoft.com/office/drawing/2014/main" id="{CC4E077B-715B-C183-4562-F73A577DCDE5}"/>
                </a:ext>
              </a:extLst>
            </p:cNvPr>
            <p:cNvSpPr>
              <a:spLocks/>
            </p:cNvSpPr>
            <p:nvPr/>
          </p:nvSpPr>
          <p:spPr bwMode="auto">
            <a:xfrm>
              <a:off x="7148226" y="4201514"/>
              <a:ext cx="216000" cy="216000"/>
            </a:xfrm>
            <a:prstGeom prst="rect">
              <a:avLst/>
            </a:prstGeom>
            <a:solidFill>
              <a:srgbClr val="E06200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1219140">
                <a:defRPr/>
              </a:pPr>
              <a:endParaRPr lang="en-GB" sz="1400" kern="0" dirty="0">
                <a:latin typeface="Arial"/>
              </a:endParaRPr>
            </a:p>
          </p:txBody>
        </p:sp>
        <p:pic>
          <p:nvPicPr>
            <p:cNvPr id="60" name="Graphic 59" descr="Clipboard with solid fill">
              <a:extLst>
                <a:ext uri="{FF2B5EF4-FFF2-40B4-BE49-F238E27FC236}">
                  <a16:creationId xmlns:a16="http://schemas.microsoft.com/office/drawing/2014/main" id="{CC21535E-5B7A-5843-A6F4-C28F897E02C5}"/>
                </a:ext>
              </a:extLst>
            </p:cNvPr>
            <p:cNvPicPr>
              <a:picLocks noChangeAspect="1"/>
            </p:cNvPicPr>
            <p:nvPr/>
          </p:nvPicPr>
          <p:blipFill>
            <a:blip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7166226" y="4210984"/>
              <a:ext cx="180000" cy="180000"/>
            </a:xfrm>
            <a:prstGeom prst="rect">
              <a:avLst/>
            </a:prstGeom>
          </p:spPr>
        </p:pic>
      </p:grpSp>
      <p:sp>
        <p:nvSpPr>
          <p:cNvPr id="61" name="TextBox 60">
            <a:extLst>
              <a:ext uri="{FF2B5EF4-FFF2-40B4-BE49-F238E27FC236}">
                <a16:creationId xmlns:a16="http://schemas.microsoft.com/office/drawing/2014/main" id="{306437C8-CD3C-3A6A-D3B7-A75B97A3D04E}"/>
              </a:ext>
            </a:extLst>
          </p:cNvPr>
          <p:cNvSpPr txBox="1"/>
          <p:nvPr/>
        </p:nvSpPr>
        <p:spPr>
          <a:xfrm>
            <a:off x="2715757" y="3525024"/>
            <a:ext cx="1990800" cy="690895"/>
          </a:xfrm>
          <a:prstGeom prst="rect">
            <a:avLst/>
          </a:prstGeom>
          <a:noFill/>
        </p:spPr>
        <p:txBody>
          <a:bodyPr wrap="square" lIns="288000" tIns="0" rIns="0" bIns="0" rtlCol="0" anchor="t">
            <a:spAutoFit/>
          </a:bodyPr>
          <a:lstStyle/>
          <a:p>
            <a:pPr>
              <a:lnSpc>
                <a:spcPct val="120000"/>
              </a:lnSpc>
              <a:spcBef>
                <a:spcPts val="1200"/>
              </a:spcBef>
            </a:pPr>
            <a:r>
              <a:rPr lang="en-GB" sz="1000" dirty="0"/>
              <a:t>Start of the training courses and coaching</a:t>
            </a:r>
          </a:p>
          <a:p>
            <a:pPr>
              <a:lnSpc>
                <a:spcPct val="120000"/>
              </a:lnSpc>
              <a:spcBef>
                <a:spcPts val="1200"/>
              </a:spcBef>
            </a:pPr>
            <a:r>
              <a:rPr lang="en-GB" sz="1000" dirty="0"/>
              <a:t>Kick-off meeting</a:t>
            </a:r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C3942E3A-B4BE-C5DD-5811-C766962795FF}"/>
              </a:ext>
            </a:extLst>
          </p:cNvPr>
          <p:cNvSpPr txBox="1"/>
          <p:nvPr/>
        </p:nvSpPr>
        <p:spPr>
          <a:xfrm>
            <a:off x="677679" y="4056352"/>
            <a:ext cx="1990800" cy="537006"/>
          </a:xfrm>
          <a:prstGeom prst="rect">
            <a:avLst/>
          </a:prstGeom>
          <a:noFill/>
        </p:spPr>
        <p:txBody>
          <a:bodyPr wrap="square" lIns="288000" tIns="0" rIns="0" bIns="0" rtlCol="0" anchor="t">
            <a:spAutoFit/>
          </a:bodyPr>
          <a:lstStyle/>
          <a:p>
            <a:pPr>
              <a:lnSpc>
                <a:spcPct val="120000"/>
              </a:lnSpc>
              <a:spcBef>
                <a:spcPts val="1200"/>
              </a:spcBef>
            </a:pPr>
            <a:r>
              <a:rPr lang="en-GB" sz="1000" dirty="0"/>
              <a:t>Contact selected candidates and arrange courses and formalities</a:t>
            </a:r>
            <a:endParaRPr lang="en-GB" sz="1000" dirty="0">
              <a:cs typeface="Arial"/>
            </a:endParaRPr>
          </a:p>
        </p:txBody>
      </p:sp>
      <p:sp>
        <p:nvSpPr>
          <p:cNvPr id="5" name="AutoShape 19">
            <a:extLst>
              <a:ext uri="{FF2B5EF4-FFF2-40B4-BE49-F238E27FC236}">
                <a16:creationId xmlns:a16="http://schemas.microsoft.com/office/drawing/2014/main" id="{CA565E2E-33EE-FAC3-A3C5-48BCCE266897}"/>
              </a:ext>
            </a:extLst>
          </p:cNvPr>
          <p:cNvSpPr>
            <a:spLocks noChangeArrowheads="1"/>
          </p:cNvSpPr>
          <p:nvPr/>
        </p:nvSpPr>
        <p:spPr bwMode="auto">
          <a:xfrm>
            <a:off x="691267" y="3242415"/>
            <a:ext cx="2028600" cy="252000"/>
          </a:xfrm>
          <a:prstGeom prst="homePlate">
            <a:avLst>
              <a:gd name="adj" fmla="val 21195"/>
            </a:avLst>
          </a:prstGeom>
          <a:solidFill>
            <a:schemeClr val="accent5"/>
          </a:solidFill>
          <a:ln w="12700" algn="ctr">
            <a:noFill/>
            <a:miter lim="800000"/>
            <a:headEnd/>
            <a:tailEnd/>
          </a:ln>
          <a:effectLst/>
        </p:spPr>
        <p:txBody>
          <a:bodyPr lIns="72000" tIns="36000" rIns="36000" bIns="36000" anchor="ctr"/>
          <a:lstStyle/>
          <a:p>
            <a:r>
              <a:rPr lang="en-GB" sz="1000" b="1">
                <a:latin typeface="Arial"/>
                <a:cs typeface="Arial"/>
              </a:rPr>
              <a:t>from 10 </a:t>
            </a:r>
            <a:r>
              <a:rPr lang="en-GB" sz="1000" b="1" dirty="0">
                <a:latin typeface="Arial"/>
                <a:cs typeface="Arial"/>
              </a:rPr>
              <a:t>July</a:t>
            </a:r>
          </a:p>
        </p:txBody>
      </p:sp>
      <p:sp>
        <p:nvSpPr>
          <p:cNvPr id="6" name="AutoShape 20">
            <a:extLst>
              <a:ext uri="{FF2B5EF4-FFF2-40B4-BE49-F238E27FC236}">
                <a16:creationId xmlns:a16="http://schemas.microsoft.com/office/drawing/2014/main" id="{F47CB1CB-1573-C0B1-D933-1013E5B577FE}"/>
              </a:ext>
            </a:extLst>
          </p:cNvPr>
          <p:cNvSpPr>
            <a:spLocks noChangeArrowheads="1"/>
          </p:cNvSpPr>
          <p:nvPr/>
        </p:nvSpPr>
        <p:spPr bwMode="auto">
          <a:xfrm>
            <a:off x="4706557" y="3244208"/>
            <a:ext cx="2028600" cy="252000"/>
          </a:xfrm>
          <a:prstGeom prst="chevron">
            <a:avLst>
              <a:gd name="adj" fmla="val 20887"/>
            </a:avLst>
          </a:prstGeom>
          <a:solidFill>
            <a:schemeClr val="accent5"/>
          </a:solidFill>
          <a:ln w="12700" algn="ctr">
            <a:noFill/>
            <a:miter lim="800000"/>
            <a:headEnd/>
            <a:tailEnd/>
          </a:ln>
          <a:effectLst/>
        </p:spPr>
        <p:txBody>
          <a:bodyPr lIns="72000" tIns="36000" rIns="36000" bIns="36000" anchor="ctr"/>
          <a:lstStyle/>
          <a:p>
            <a:r>
              <a:rPr lang="en-GB" sz="1000" b="1" dirty="0">
                <a:latin typeface="Arial" pitchFamily="34" charset="0"/>
              </a:rPr>
              <a:t>March 2027</a:t>
            </a:r>
          </a:p>
        </p:txBody>
      </p:sp>
      <p:sp>
        <p:nvSpPr>
          <p:cNvPr id="24" name="AutoShape 20">
            <a:extLst>
              <a:ext uri="{FF2B5EF4-FFF2-40B4-BE49-F238E27FC236}">
                <a16:creationId xmlns:a16="http://schemas.microsoft.com/office/drawing/2014/main" id="{D30C7243-D807-BEB5-AB16-DD087302F504}"/>
              </a:ext>
            </a:extLst>
          </p:cNvPr>
          <p:cNvSpPr>
            <a:spLocks noChangeArrowheads="1"/>
          </p:cNvSpPr>
          <p:nvPr/>
        </p:nvSpPr>
        <p:spPr bwMode="auto">
          <a:xfrm>
            <a:off x="4744129" y="1509034"/>
            <a:ext cx="2028599" cy="252000"/>
          </a:xfrm>
          <a:prstGeom prst="chevron">
            <a:avLst>
              <a:gd name="adj" fmla="val 20887"/>
            </a:avLst>
          </a:prstGeom>
          <a:solidFill>
            <a:schemeClr val="accent5"/>
          </a:solidFill>
          <a:ln w="12700" algn="ctr">
            <a:noFill/>
            <a:miter lim="800000"/>
            <a:headEnd/>
            <a:tailEnd/>
          </a:ln>
          <a:effectLst/>
        </p:spPr>
        <p:txBody>
          <a:bodyPr lIns="72000" tIns="36000" rIns="36000" bIns="36000" anchor="ctr"/>
          <a:lstStyle/>
          <a:p>
            <a:r>
              <a:rPr lang="en-GB" sz="1000" b="1" dirty="0">
                <a:latin typeface="Arial"/>
                <a:cs typeface="Arial"/>
              </a:rPr>
              <a:t>20 April – 31 May</a:t>
            </a:r>
          </a:p>
        </p:txBody>
      </p:sp>
      <p:sp>
        <p:nvSpPr>
          <p:cNvPr id="35" name="Rectangle 3">
            <a:extLst>
              <a:ext uri="{FF2B5EF4-FFF2-40B4-BE49-F238E27FC236}">
                <a16:creationId xmlns:a16="http://schemas.microsoft.com/office/drawing/2014/main" id="{F119F976-492C-2E37-D565-A590243A7D32}"/>
              </a:ext>
            </a:extLst>
          </p:cNvPr>
          <p:cNvSpPr>
            <a:spLocks noChangeArrowheads="1"/>
          </p:cNvSpPr>
          <p:nvPr/>
        </p:nvSpPr>
        <p:spPr bwMode="auto">
          <a:xfrm>
            <a:off x="4716066" y="1798567"/>
            <a:ext cx="1840405" cy="537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288000" tIns="0" rIns="0" bIns="0" anchor="t">
            <a:spAutoFit/>
          </a:bodyPr>
          <a:lstStyle/>
          <a:p>
            <a:pPr marL="0" lvl="1" defTabSz="685800">
              <a:lnSpc>
                <a:spcPct val="120000"/>
              </a:lnSpc>
              <a:spcBef>
                <a:spcPts val="1200"/>
              </a:spcBef>
              <a:buClr>
                <a:schemeClr val="accent6"/>
              </a:buClr>
              <a:buSzPct val="100000"/>
            </a:pPr>
            <a:r>
              <a:rPr lang="en-GB" sz="1000" dirty="0"/>
              <a:t>Candidates apply for CSP via link on NPO website (Single Access Portal)</a:t>
            </a:r>
          </a:p>
        </p:txBody>
      </p:sp>
      <p:grpSp>
        <p:nvGrpSpPr>
          <p:cNvPr id="93" name="Gruppieren 92">
            <a:extLst>
              <a:ext uri="{FF2B5EF4-FFF2-40B4-BE49-F238E27FC236}">
                <a16:creationId xmlns:a16="http://schemas.microsoft.com/office/drawing/2014/main" id="{89345F69-BA3C-725B-EDAF-5C8AC696F069}"/>
              </a:ext>
            </a:extLst>
          </p:cNvPr>
          <p:cNvGrpSpPr/>
          <p:nvPr/>
        </p:nvGrpSpPr>
        <p:grpSpPr>
          <a:xfrm>
            <a:off x="4740864" y="1812720"/>
            <a:ext cx="216000" cy="216000"/>
            <a:chOff x="4937223" y="2156487"/>
            <a:chExt cx="216000" cy="216000"/>
          </a:xfrm>
        </p:grpSpPr>
        <p:sp>
          <p:nvSpPr>
            <p:cNvPr id="68" name="Freeform 71">
              <a:extLst>
                <a:ext uri="{FF2B5EF4-FFF2-40B4-BE49-F238E27FC236}">
                  <a16:creationId xmlns:a16="http://schemas.microsoft.com/office/drawing/2014/main" id="{BE513D9A-6D75-3D73-6E63-2CF6A9E48329}"/>
                </a:ext>
              </a:extLst>
            </p:cNvPr>
            <p:cNvSpPr>
              <a:spLocks/>
            </p:cNvSpPr>
            <p:nvPr/>
          </p:nvSpPr>
          <p:spPr bwMode="auto">
            <a:xfrm>
              <a:off x="4937223" y="2156487"/>
              <a:ext cx="216000" cy="216000"/>
            </a:xfrm>
            <a:prstGeom prst="rect">
              <a:avLst/>
            </a:prstGeom>
            <a:solidFill>
              <a:srgbClr val="E06200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1219140">
                <a:defRPr/>
              </a:pPr>
              <a:endParaRPr lang="en-GB" sz="1400" kern="0" dirty="0">
                <a:latin typeface="Arial"/>
              </a:endParaRPr>
            </a:p>
          </p:txBody>
        </p:sp>
        <p:pic>
          <p:nvPicPr>
            <p:cNvPr id="69" name="Graphic 68" descr="Clipboard with solid fill">
              <a:extLst>
                <a:ext uri="{FF2B5EF4-FFF2-40B4-BE49-F238E27FC236}">
                  <a16:creationId xmlns:a16="http://schemas.microsoft.com/office/drawing/2014/main" id="{6FC111C1-3CAD-1722-50ED-DB9963F2E576}"/>
                </a:ext>
              </a:extLst>
            </p:cNvPr>
            <p:cNvPicPr>
              <a:picLocks noChangeAspect="1"/>
            </p:cNvPicPr>
            <p:nvPr/>
          </p:nvPicPr>
          <p:blipFill>
            <a:blip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4937223" y="2156487"/>
              <a:ext cx="216000" cy="216000"/>
            </a:xfrm>
            <a:prstGeom prst="rect">
              <a:avLst/>
            </a:prstGeom>
          </p:spPr>
        </p:pic>
      </p:grpSp>
      <p:sp>
        <p:nvSpPr>
          <p:cNvPr id="31" name="Rectangle 3">
            <a:extLst>
              <a:ext uri="{FF2B5EF4-FFF2-40B4-BE49-F238E27FC236}">
                <a16:creationId xmlns:a16="http://schemas.microsoft.com/office/drawing/2014/main" id="{3F7B5138-7F9A-B8AD-A7F4-7BF2E996E4BB}"/>
              </a:ext>
            </a:extLst>
          </p:cNvPr>
          <p:cNvSpPr>
            <a:spLocks noChangeArrowheads="1"/>
          </p:cNvSpPr>
          <p:nvPr/>
        </p:nvSpPr>
        <p:spPr bwMode="auto">
          <a:xfrm>
            <a:off x="6773544" y="1797396"/>
            <a:ext cx="1990800" cy="4678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288000" tIns="0" rIns="0" bIns="0" anchor="t"/>
          <a:lstStyle/>
          <a:p>
            <a:pPr marL="0" lvl="1" defTabSz="685800">
              <a:lnSpc>
                <a:spcPct val="120000"/>
              </a:lnSpc>
              <a:spcBef>
                <a:spcPts val="1200"/>
              </a:spcBef>
              <a:buClr>
                <a:schemeClr val="accent6"/>
              </a:buClr>
              <a:buSzPct val="100000"/>
            </a:pPr>
            <a:r>
              <a:rPr lang="en-GB" sz="1000" dirty="0"/>
              <a:t>Selection and nomination process</a:t>
            </a:r>
            <a:endParaRPr lang="en-GB" sz="1000" dirty="0">
              <a:cs typeface="Arial"/>
            </a:endParaRPr>
          </a:p>
          <a:p>
            <a:pPr marL="171450" lvl="1" indent="-171450" defTabSz="685800">
              <a:lnSpc>
                <a:spcPct val="120000"/>
              </a:lnSpc>
              <a:spcBef>
                <a:spcPts val="1200"/>
              </a:spcBef>
              <a:buClr>
                <a:schemeClr val="accent6"/>
              </a:buClr>
              <a:buSzPct val="100000"/>
              <a:buFont typeface="Arial" panose="020B0604020202020204" pitchFamily="34" charset="0"/>
              <a:buChar char="•"/>
            </a:pPr>
            <a:endParaRPr lang="en-GB" sz="1000" dirty="0"/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8942100-53BD-EAEF-AF87-A263A0968896}"/>
              </a:ext>
            </a:extLst>
          </p:cNvPr>
          <p:cNvGrpSpPr/>
          <p:nvPr/>
        </p:nvGrpSpPr>
        <p:grpSpPr>
          <a:xfrm>
            <a:off x="6779028" y="1803029"/>
            <a:ext cx="216000" cy="216000"/>
            <a:chOff x="10075426" y="2746185"/>
            <a:chExt cx="216000" cy="216000"/>
          </a:xfrm>
        </p:grpSpPr>
        <p:sp>
          <p:nvSpPr>
            <p:cNvPr id="36" name="Freeform 71">
              <a:extLst>
                <a:ext uri="{FF2B5EF4-FFF2-40B4-BE49-F238E27FC236}">
                  <a16:creationId xmlns:a16="http://schemas.microsoft.com/office/drawing/2014/main" id="{C3C4CC5F-E44C-C756-3179-A734B4C3D5B7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75426" y="2746185"/>
              <a:ext cx="216000" cy="216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1219140">
                <a:defRPr/>
              </a:pPr>
              <a:endParaRPr lang="en-GB" sz="1400" kern="0" dirty="0">
                <a:latin typeface="Arial"/>
              </a:endParaRPr>
            </a:p>
          </p:txBody>
        </p:sp>
        <p:pic>
          <p:nvPicPr>
            <p:cNvPr id="38" name="Graphic 37" descr="Court outline">
              <a:extLst>
                <a:ext uri="{FF2B5EF4-FFF2-40B4-BE49-F238E27FC236}">
                  <a16:creationId xmlns:a16="http://schemas.microsoft.com/office/drawing/2014/main" id="{EE58AF7D-384A-58D1-1F0F-771D2E37AADD}"/>
                </a:ext>
              </a:extLst>
            </p:cNvPr>
            <p:cNvPicPr>
              <a:picLocks noChangeAspect="1"/>
            </p:cNvPicPr>
            <p:nvPr/>
          </p:nvPicPr>
          <p:blipFill>
            <a:blip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10075426" y="2746185"/>
              <a:ext cx="216000" cy="216000"/>
            </a:xfrm>
            <a:prstGeom prst="rect">
              <a:avLst/>
            </a:prstGeom>
          </p:spPr>
        </p:pic>
      </p:grpSp>
      <p:sp>
        <p:nvSpPr>
          <p:cNvPr id="11" name="AutoShape 20">
            <a:extLst>
              <a:ext uri="{FF2B5EF4-FFF2-40B4-BE49-F238E27FC236}">
                <a16:creationId xmlns:a16="http://schemas.microsoft.com/office/drawing/2014/main" id="{A333052E-6A44-60C3-93E0-36827FF8233A}"/>
              </a:ext>
            </a:extLst>
          </p:cNvPr>
          <p:cNvSpPr>
            <a:spLocks noChangeArrowheads="1"/>
          </p:cNvSpPr>
          <p:nvPr/>
        </p:nvSpPr>
        <p:spPr bwMode="auto">
          <a:xfrm>
            <a:off x="6753601" y="1509034"/>
            <a:ext cx="2028599" cy="252000"/>
          </a:xfrm>
          <a:prstGeom prst="chevron">
            <a:avLst>
              <a:gd name="adj" fmla="val 20887"/>
            </a:avLst>
          </a:prstGeom>
          <a:solidFill>
            <a:schemeClr val="accent5"/>
          </a:solidFill>
          <a:ln w="12700" algn="ctr">
            <a:noFill/>
            <a:miter lim="800000"/>
            <a:headEnd/>
            <a:tailEnd/>
          </a:ln>
          <a:effectLst/>
        </p:spPr>
        <p:txBody>
          <a:bodyPr lIns="72000" tIns="36000" rIns="36000" bIns="36000" anchor="ctr"/>
          <a:lstStyle/>
          <a:p>
            <a:r>
              <a:rPr lang="en-GB" sz="1000" b="1" dirty="0">
                <a:latin typeface="Arial"/>
                <a:cs typeface="Arial"/>
              </a:rPr>
              <a:t>01 June – 10 July</a:t>
            </a:r>
          </a:p>
        </p:txBody>
      </p:sp>
      <p:sp>
        <p:nvSpPr>
          <p:cNvPr id="21" name="AutoShape 20">
            <a:extLst>
              <a:ext uri="{FF2B5EF4-FFF2-40B4-BE49-F238E27FC236}">
                <a16:creationId xmlns:a16="http://schemas.microsoft.com/office/drawing/2014/main" id="{BC3704CC-DAF9-3BF9-E9EA-836307BA99AF}"/>
              </a:ext>
            </a:extLst>
          </p:cNvPr>
          <p:cNvSpPr>
            <a:spLocks noChangeArrowheads="1"/>
          </p:cNvSpPr>
          <p:nvPr/>
        </p:nvSpPr>
        <p:spPr bwMode="auto">
          <a:xfrm>
            <a:off x="2733530" y="1515171"/>
            <a:ext cx="2028599" cy="252000"/>
          </a:xfrm>
          <a:prstGeom prst="chevron">
            <a:avLst>
              <a:gd name="adj" fmla="val 20887"/>
            </a:avLst>
          </a:prstGeom>
          <a:solidFill>
            <a:schemeClr val="accent5"/>
          </a:solidFill>
          <a:ln w="12700" algn="ctr">
            <a:noFill/>
            <a:miter lim="800000"/>
            <a:headEnd/>
            <a:tailEnd/>
          </a:ln>
          <a:effectLst/>
        </p:spPr>
        <p:txBody>
          <a:bodyPr lIns="72000" tIns="36000" rIns="36000" bIns="36000" anchor="ctr"/>
          <a:lstStyle/>
          <a:p>
            <a:r>
              <a:rPr lang="en-GB" sz="1000" b="1" dirty="0">
                <a:latin typeface="Arial"/>
                <a:cs typeface="Arial"/>
              </a:rPr>
              <a:t>by 20 April</a:t>
            </a:r>
          </a:p>
        </p:txBody>
      </p:sp>
      <p:grpSp>
        <p:nvGrpSpPr>
          <p:cNvPr id="26" name="Group 25">
            <a:extLst>
              <a:ext uri="{FF2B5EF4-FFF2-40B4-BE49-F238E27FC236}">
                <a16:creationId xmlns:a16="http://schemas.microsoft.com/office/drawing/2014/main" id="{E57209A9-2CB0-DC11-4C1E-A5211411F4D9}"/>
              </a:ext>
            </a:extLst>
          </p:cNvPr>
          <p:cNvGrpSpPr/>
          <p:nvPr/>
        </p:nvGrpSpPr>
        <p:grpSpPr>
          <a:xfrm>
            <a:off x="2732840" y="1832504"/>
            <a:ext cx="216000" cy="216000"/>
            <a:chOff x="10075426" y="2746185"/>
            <a:chExt cx="216000" cy="216000"/>
          </a:xfrm>
        </p:grpSpPr>
        <p:sp>
          <p:nvSpPr>
            <p:cNvPr id="27" name="Freeform 71">
              <a:extLst>
                <a:ext uri="{FF2B5EF4-FFF2-40B4-BE49-F238E27FC236}">
                  <a16:creationId xmlns:a16="http://schemas.microsoft.com/office/drawing/2014/main" id="{5BF22754-D916-659A-3D83-0734CE07915C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75426" y="2746185"/>
              <a:ext cx="216000" cy="216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1219140">
                <a:defRPr/>
              </a:pPr>
              <a:endParaRPr lang="en-GB" sz="1400" kern="0" dirty="0">
                <a:latin typeface="Arial"/>
              </a:endParaRPr>
            </a:p>
          </p:txBody>
        </p:sp>
        <p:pic>
          <p:nvPicPr>
            <p:cNvPr id="28" name="Graphic 27" descr="Court outline">
              <a:extLst>
                <a:ext uri="{FF2B5EF4-FFF2-40B4-BE49-F238E27FC236}">
                  <a16:creationId xmlns:a16="http://schemas.microsoft.com/office/drawing/2014/main" id="{C71A0195-8FF9-66AA-50E4-A49CF8846C68}"/>
                </a:ext>
              </a:extLst>
            </p:cNvPr>
            <p:cNvPicPr>
              <a:picLocks noChangeAspect="1"/>
            </p:cNvPicPr>
            <p:nvPr/>
          </p:nvPicPr>
          <p:blipFill>
            <a:blip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10075426" y="2746185"/>
              <a:ext cx="216000" cy="216000"/>
            </a:xfrm>
            <a:prstGeom prst="rect">
              <a:avLst/>
            </a:prstGeom>
          </p:spPr>
        </p:pic>
      </p:grpSp>
      <p:sp>
        <p:nvSpPr>
          <p:cNvPr id="30" name="Rectangle 3">
            <a:extLst>
              <a:ext uri="{FF2B5EF4-FFF2-40B4-BE49-F238E27FC236}">
                <a16:creationId xmlns:a16="http://schemas.microsoft.com/office/drawing/2014/main" id="{8E152314-6BAE-B37A-F31B-5E8F55EFA263}"/>
              </a:ext>
            </a:extLst>
          </p:cNvPr>
          <p:cNvSpPr>
            <a:spLocks noChangeArrowheads="1"/>
          </p:cNvSpPr>
          <p:nvPr/>
        </p:nvSpPr>
        <p:spPr bwMode="auto">
          <a:xfrm>
            <a:off x="2732840" y="1803901"/>
            <a:ext cx="1990800" cy="537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288000" tIns="0" rIns="0" bIns="0">
            <a:spAutoFit/>
          </a:bodyPr>
          <a:lstStyle/>
          <a:p>
            <a:pPr marL="0" lvl="1" defTabSz="685800">
              <a:lnSpc>
                <a:spcPct val="120000"/>
              </a:lnSpc>
              <a:spcBef>
                <a:spcPts val="1200"/>
              </a:spcBef>
              <a:buClr>
                <a:schemeClr val="accent6"/>
              </a:buClr>
              <a:buSzPct val="100000"/>
            </a:pPr>
            <a:r>
              <a:rPr lang="en-GB" sz="1000" dirty="0"/>
              <a:t>Publication of the link of application form and “conditions” for participation</a:t>
            </a:r>
          </a:p>
        </p:txBody>
      </p:sp>
      <p:sp>
        <p:nvSpPr>
          <p:cNvPr id="37" name="AutoShape 19">
            <a:extLst>
              <a:ext uri="{FF2B5EF4-FFF2-40B4-BE49-F238E27FC236}">
                <a16:creationId xmlns:a16="http://schemas.microsoft.com/office/drawing/2014/main" id="{5B60A9D8-6314-9015-6933-A990430F86B9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6701" y="1226425"/>
            <a:ext cx="8108327" cy="252000"/>
          </a:xfrm>
          <a:prstGeom prst="homePlate">
            <a:avLst>
              <a:gd name="adj" fmla="val 21195"/>
            </a:avLst>
          </a:prstGeom>
          <a:solidFill>
            <a:schemeClr val="accent2"/>
          </a:solidFill>
          <a:ln w="12700" algn="ctr">
            <a:noFill/>
            <a:miter lim="800000"/>
            <a:headEnd/>
            <a:tailEnd/>
          </a:ln>
          <a:effectLst/>
        </p:spPr>
        <p:txBody>
          <a:bodyPr lIns="576000" tIns="36000" rIns="36000" bIns="36000" anchor="ctr"/>
          <a:lstStyle/>
          <a:p>
            <a:r>
              <a:rPr lang="en-GB" sz="1200" b="1" dirty="0">
                <a:solidFill>
                  <a:schemeClr val="bg1"/>
                </a:solidFill>
                <a:latin typeface="Arial"/>
                <a:cs typeface="Arial"/>
              </a:rPr>
              <a:t>Promotion of CSP</a:t>
            </a:r>
            <a:endParaRPr lang="en-GB" sz="1200" b="1" dirty="0">
              <a:solidFill>
                <a:schemeClr val="bg1"/>
              </a:solidFill>
              <a:latin typeface="Arial" pitchFamily="34" charset="0"/>
            </a:endParaRPr>
          </a:p>
        </p:txBody>
      </p:sp>
      <p:grpSp>
        <p:nvGrpSpPr>
          <p:cNvPr id="40" name="Group 39">
            <a:extLst>
              <a:ext uri="{FF2B5EF4-FFF2-40B4-BE49-F238E27FC236}">
                <a16:creationId xmlns:a16="http://schemas.microsoft.com/office/drawing/2014/main" id="{8D4287BE-FC65-F301-7EC8-14A0C84D765F}"/>
              </a:ext>
            </a:extLst>
          </p:cNvPr>
          <p:cNvGrpSpPr/>
          <p:nvPr/>
        </p:nvGrpSpPr>
        <p:grpSpPr>
          <a:xfrm>
            <a:off x="723225" y="1238183"/>
            <a:ext cx="216000" cy="216000"/>
            <a:chOff x="10075426" y="2746185"/>
            <a:chExt cx="216000" cy="216000"/>
          </a:xfrm>
        </p:grpSpPr>
        <p:sp>
          <p:nvSpPr>
            <p:cNvPr id="41" name="Freeform 71">
              <a:extLst>
                <a:ext uri="{FF2B5EF4-FFF2-40B4-BE49-F238E27FC236}">
                  <a16:creationId xmlns:a16="http://schemas.microsoft.com/office/drawing/2014/main" id="{44473299-79B7-9764-AAA7-1F356CD06F58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75426" y="2746185"/>
              <a:ext cx="216000" cy="216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1219140">
                <a:defRPr/>
              </a:pPr>
              <a:endParaRPr lang="en-GB" sz="1400" kern="0" dirty="0">
                <a:latin typeface="Arial"/>
              </a:endParaRPr>
            </a:p>
          </p:txBody>
        </p:sp>
        <p:pic>
          <p:nvPicPr>
            <p:cNvPr id="42" name="Graphic 41" descr="Court outline">
              <a:extLst>
                <a:ext uri="{FF2B5EF4-FFF2-40B4-BE49-F238E27FC236}">
                  <a16:creationId xmlns:a16="http://schemas.microsoft.com/office/drawing/2014/main" id="{D3BA10AD-2C05-231E-5B7C-5FA05DE2036E}"/>
                </a:ext>
              </a:extLst>
            </p:cNvPr>
            <p:cNvPicPr>
              <a:picLocks noChangeAspect="1"/>
            </p:cNvPicPr>
            <p:nvPr/>
          </p:nvPicPr>
          <p:blipFill>
            <a:blip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10075426" y="2746185"/>
              <a:ext cx="216000" cy="216000"/>
            </a:xfrm>
            <a:prstGeom prst="rect">
              <a:avLst/>
            </a:prstGeom>
          </p:spPr>
        </p:pic>
      </p:grpSp>
      <p:grpSp>
        <p:nvGrpSpPr>
          <p:cNvPr id="65" name="Gruppieren 64">
            <a:extLst>
              <a:ext uri="{FF2B5EF4-FFF2-40B4-BE49-F238E27FC236}">
                <a16:creationId xmlns:a16="http://schemas.microsoft.com/office/drawing/2014/main" id="{A80941BE-D93E-4D09-98AF-E295BBF2A1E4}"/>
              </a:ext>
            </a:extLst>
          </p:cNvPr>
          <p:cNvGrpSpPr/>
          <p:nvPr/>
        </p:nvGrpSpPr>
        <p:grpSpPr>
          <a:xfrm>
            <a:off x="975749" y="1240547"/>
            <a:ext cx="216000" cy="216000"/>
            <a:chOff x="975749" y="1354835"/>
            <a:chExt cx="216000" cy="216000"/>
          </a:xfrm>
        </p:grpSpPr>
        <p:sp>
          <p:nvSpPr>
            <p:cNvPr id="56" name="Freeform 71">
              <a:extLst>
                <a:ext uri="{FF2B5EF4-FFF2-40B4-BE49-F238E27FC236}">
                  <a16:creationId xmlns:a16="http://schemas.microsoft.com/office/drawing/2014/main" id="{E3896982-9304-A119-85C9-36776C8D4A94}"/>
                </a:ext>
              </a:extLst>
            </p:cNvPr>
            <p:cNvSpPr>
              <a:spLocks/>
            </p:cNvSpPr>
            <p:nvPr/>
          </p:nvSpPr>
          <p:spPr bwMode="auto">
            <a:xfrm>
              <a:off x="975749" y="1354835"/>
              <a:ext cx="216000" cy="216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1219140">
                <a:defRPr/>
              </a:pPr>
              <a:endParaRPr lang="en-GB" sz="1400" kern="0" dirty="0">
                <a:latin typeface="Arial"/>
              </a:endParaRPr>
            </a:p>
          </p:txBody>
        </p:sp>
        <p:pic>
          <p:nvPicPr>
            <p:cNvPr id="39" name="Graphic 38" descr="Stadt Silhouette">
              <a:extLst>
                <a:ext uri="{FF2B5EF4-FFF2-40B4-BE49-F238E27FC236}">
                  <a16:creationId xmlns:a16="http://schemas.microsoft.com/office/drawing/2014/main" id="{485EFE9E-4694-CC41-005E-1DC581FCD796}"/>
                </a:ext>
              </a:extLst>
            </p:cNvPr>
            <p:cNvPicPr>
              <a:picLocks noChangeAspect="1"/>
            </p:cNvPicPr>
            <p:nvPr/>
          </p:nvPicPr>
          <p:blipFill>
            <a:blip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975749" y="1354835"/>
              <a:ext cx="216000" cy="216000"/>
            </a:xfrm>
            <a:prstGeom prst="rect">
              <a:avLst/>
            </a:prstGeom>
          </p:spPr>
        </p:pic>
      </p:grpSp>
      <p:grpSp>
        <p:nvGrpSpPr>
          <p:cNvPr id="97" name="Gruppieren 96">
            <a:extLst>
              <a:ext uri="{FF2B5EF4-FFF2-40B4-BE49-F238E27FC236}">
                <a16:creationId xmlns:a16="http://schemas.microsoft.com/office/drawing/2014/main" id="{3C770214-B2B8-BD5B-4D85-181AE1AB5559}"/>
              </a:ext>
            </a:extLst>
          </p:cNvPr>
          <p:cNvGrpSpPr/>
          <p:nvPr/>
        </p:nvGrpSpPr>
        <p:grpSpPr>
          <a:xfrm>
            <a:off x="691702" y="4059240"/>
            <a:ext cx="216000" cy="216000"/>
            <a:chOff x="975749" y="1354835"/>
            <a:chExt cx="216000" cy="216000"/>
          </a:xfrm>
        </p:grpSpPr>
        <p:sp>
          <p:nvSpPr>
            <p:cNvPr id="98" name="Freeform 71">
              <a:extLst>
                <a:ext uri="{FF2B5EF4-FFF2-40B4-BE49-F238E27FC236}">
                  <a16:creationId xmlns:a16="http://schemas.microsoft.com/office/drawing/2014/main" id="{300008CA-DF8F-7A2B-A283-253BBD2DB818}"/>
                </a:ext>
              </a:extLst>
            </p:cNvPr>
            <p:cNvSpPr>
              <a:spLocks/>
            </p:cNvSpPr>
            <p:nvPr/>
          </p:nvSpPr>
          <p:spPr bwMode="auto">
            <a:xfrm>
              <a:off x="975749" y="1354835"/>
              <a:ext cx="216000" cy="216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1219140">
                <a:defRPr/>
              </a:pPr>
              <a:endParaRPr lang="en-GB" sz="1400" kern="0" dirty="0">
                <a:latin typeface="Arial"/>
              </a:endParaRPr>
            </a:p>
          </p:txBody>
        </p:sp>
        <p:pic>
          <p:nvPicPr>
            <p:cNvPr id="99" name="Graphic 38" descr="Stadt Silhouette">
              <a:extLst>
                <a:ext uri="{FF2B5EF4-FFF2-40B4-BE49-F238E27FC236}">
                  <a16:creationId xmlns:a16="http://schemas.microsoft.com/office/drawing/2014/main" id="{D55DAE60-5F40-DCC6-0085-E85156F760D1}"/>
                </a:ext>
              </a:extLst>
            </p:cNvPr>
            <p:cNvPicPr>
              <a:picLocks noChangeAspect="1"/>
            </p:cNvPicPr>
            <p:nvPr/>
          </p:nvPicPr>
          <p:blipFill>
            <a:blip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975749" y="1354835"/>
              <a:ext cx="216000" cy="216000"/>
            </a:xfrm>
            <a:prstGeom prst="rect">
              <a:avLst/>
            </a:prstGeom>
          </p:spPr>
        </p:pic>
      </p:grpSp>
      <p:grpSp>
        <p:nvGrpSpPr>
          <p:cNvPr id="103" name="Gruppieren 102">
            <a:extLst>
              <a:ext uri="{FF2B5EF4-FFF2-40B4-BE49-F238E27FC236}">
                <a16:creationId xmlns:a16="http://schemas.microsoft.com/office/drawing/2014/main" id="{20EDD48C-7E95-6244-29F4-7439FFBC9257}"/>
              </a:ext>
            </a:extLst>
          </p:cNvPr>
          <p:cNvGrpSpPr/>
          <p:nvPr/>
        </p:nvGrpSpPr>
        <p:grpSpPr>
          <a:xfrm>
            <a:off x="2712349" y="4018185"/>
            <a:ext cx="216000" cy="216000"/>
            <a:chOff x="975749" y="1354835"/>
            <a:chExt cx="216000" cy="216000"/>
          </a:xfrm>
        </p:grpSpPr>
        <p:sp>
          <p:nvSpPr>
            <p:cNvPr id="104" name="Freeform 71">
              <a:extLst>
                <a:ext uri="{FF2B5EF4-FFF2-40B4-BE49-F238E27FC236}">
                  <a16:creationId xmlns:a16="http://schemas.microsoft.com/office/drawing/2014/main" id="{AC44905F-1D8D-6EF8-F4BD-402623390598}"/>
                </a:ext>
              </a:extLst>
            </p:cNvPr>
            <p:cNvSpPr>
              <a:spLocks/>
            </p:cNvSpPr>
            <p:nvPr/>
          </p:nvSpPr>
          <p:spPr bwMode="auto">
            <a:xfrm>
              <a:off x="975749" y="1354835"/>
              <a:ext cx="216000" cy="216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1219140">
                <a:defRPr/>
              </a:pPr>
              <a:endParaRPr lang="en-GB" sz="1400" kern="0" dirty="0">
                <a:latin typeface="Arial"/>
              </a:endParaRPr>
            </a:p>
          </p:txBody>
        </p:sp>
        <p:pic>
          <p:nvPicPr>
            <p:cNvPr id="105" name="Graphic 38" descr="Stadt Silhouette">
              <a:extLst>
                <a:ext uri="{FF2B5EF4-FFF2-40B4-BE49-F238E27FC236}">
                  <a16:creationId xmlns:a16="http://schemas.microsoft.com/office/drawing/2014/main" id="{D0E2416D-E20B-40A3-E909-69DA80674D12}"/>
                </a:ext>
              </a:extLst>
            </p:cNvPr>
            <p:cNvPicPr>
              <a:picLocks noChangeAspect="1"/>
            </p:cNvPicPr>
            <p:nvPr/>
          </p:nvPicPr>
          <p:blipFill>
            <a:blip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975749" y="1354835"/>
              <a:ext cx="216000" cy="216000"/>
            </a:xfrm>
            <a:prstGeom prst="rect">
              <a:avLst/>
            </a:prstGeom>
          </p:spPr>
        </p:pic>
      </p:grpSp>
      <p:grpSp>
        <p:nvGrpSpPr>
          <p:cNvPr id="111" name="Gruppieren 110">
            <a:extLst>
              <a:ext uri="{FF2B5EF4-FFF2-40B4-BE49-F238E27FC236}">
                <a16:creationId xmlns:a16="http://schemas.microsoft.com/office/drawing/2014/main" id="{104D794A-9D0D-6CE9-4261-2880DD1F881A}"/>
              </a:ext>
            </a:extLst>
          </p:cNvPr>
          <p:cNvGrpSpPr/>
          <p:nvPr/>
        </p:nvGrpSpPr>
        <p:grpSpPr>
          <a:xfrm>
            <a:off x="7122010" y="4376162"/>
            <a:ext cx="543128" cy="216000"/>
            <a:chOff x="6402612" y="4383419"/>
            <a:chExt cx="543128" cy="216000"/>
          </a:xfrm>
        </p:grpSpPr>
        <p:sp>
          <p:nvSpPr>
            <p:cNvPr id="14" name="Textfeld 454">
              <a:extLst>
                <a:ext uri="{FF2B5EF4-FFF2-40B4-BE49-F238E27FC236}">
                  <a16:creationId xmlns:a16="http://schemas.microsoft.com/office/drawing/2014/main" id="{84596986-32A3-E5E5-D569-9E459697E2C8}"/>
                </a:ext>
              </a:extLst>
            </p:cNvPr>
            <p:cNvSpPr txBox="1"/>
            <p:nvPr/>
          </p:nvSpPr>
          <p:spPr>
            <a:xfrm>
              <a:off x="6676436" y="4414475"/>
              <a:ext cx="269304" cy="153888"/>
            </a:xfrm>
            <a:prstGeom prst="rect">
              <a:avLst/>
            </a:prstGeom>
          </p:spPr>
          <p:txBody>
            <a:bodyPr wrap="none" lIns="0" tIns="0" rIns="0" bIns="0" rtlCol="0" anchor="ctr" anchorCtr="0">
              <a:spAutoFit/>
            </a:bodyPr>
            <a:lstStyle/>
            <a:p>
              <a:r>
                <a:rPr lang="en-GB" sz="1000" dirty="0"/>
                <a:t>EPO</a:t>
              </a:r>
            </a:p>
          </p:txBody>
        </p:sp>
        <p:grpSp>
          <p:nvGrpSpPr>
            <p:cNvPr id="110" name="Gruppieren 109">
              <a:extLst>
                <a:ext uri="{FF2B5EF4-FFF2-40B4-BE49-F238E27FC236}">
                  <a16:creationId xmlns:a16="http://schemas.microsoft.com/office/drawing/2014/main" id="{F8A613CA-0957-5149-C97E-4AEB0247D76B}"/>
                </a:ext>
              </a:extLst>
            </p:cNvPr>
            <p:cNvGrpSpPr/>
            <p:nvPr/>
          </p:nvGrpSpPr>
          <p:grpSpPr>
            <a:xfrm>
              <a:off x="6402612" y="4383419"/>
              <a:ext cx="216000" cy="216000"/>
              <a:chOff x="6212403" y="4232647"/>
              <a:chExt cx="216000" cy="216000"/>
            </a:xfrm>
          </p:grpSpPr>
          <p:sp>
            <p:nvSpPr>
              <p:cNvPr id="107" name="Freeform 71">
                <a:extLst>
                  <a:ext uri="{FF2B5EF4-FFF2-40B4-BE49-F238E27FC236}">
                    <a16:creationId xmlns:a16="http://schemas.microsoft.com/office/drawing/2014/main" id="{3531F207-A49D-F8B5-5350-9B9775A0DC9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12403" y="4232647"/>
                <a:ext cx="216000" cy="216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defTabSz="1219140">
                  <a:defRPr/>
                </a:pPr>
                <a:endParaRPr lang="en-GB" sz="1400" kern="0" dirty="0">
                  <a:latin typeface="Arial"/>
                </a:endParaRPr>
              </a:p>
            </p:txBody>
          </p:sp>
          <p:pic>
            <p:nvPicPr>
              <p:cNvPr id="108" name="Graphic 38" descr="Stadt Silhouette">
                <a:extLst>
                  <a:ext uri="{FF2B5EF4-FFF2-40B4-BE49-F238E27FC236}">
                    <a16:creationId xmlns:a16="http://schemas.microsoft.com/office/drawing/2014/main" id="{D9BBF770-CE4B-C17D-7234-0D6EFA2B4CC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>
                <a:extLs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6212403" y="4232647"/>
                <a:ext cx="216000" cy="216000"/>
              </a:xfrm>
              <a:prstGeom prst="rect">
                <a:avLst/>
              </a:prstGeom>
            </p:spPr>
          </p:pic>
        </p:grpSp>
      </p:grpSp>
      <p:sp>
        <p:nvSpPr>
          <p:cNvPr id="8" name="AutoShape 20">
            <a:extLst>
              <a:ext uri="{FF2B5EF4-FFF2-40B4-BE49-F238E27FC236}">
                <a16:creationId xmlns:a16="http://schemas.microsoft.com/office/drawing/2014/main" id="{CA0CCCF6-CED5-2798-F2B9-78CDCF751E21}"/>
              </a:ext>
            </a:extLst>
          </p:cNvPr>
          <p:cNvSpPr>
            <a:spLocks noChangeArrowheads="1"/>
          </p:cNvSpPr>
          <p:nvPr/>
        </p:nvSpPr>
        <p:spPr bwMode="auto">
          <a:xfrm>
            <a:off x="2733530" y="2524739"/>
            <a:ext cx="4029969" cy="252000"/>
          </a:xfrm>
          <a:prstGeom prst="chevron">
            <a:avLst>
              <a:gd name="adj" fmla="val 20887"/>
            </a:avLst>
          </a:prstGeom>
          <a:solidFill>
            <a:schemeClr val="accent5"/>
          </a:solidFill>
          <a:ln w="12700" algn="ctr">
            <a:noFill/>
            <a:miter lim="800000"/>
            <a:headEnd/>
            <a:tailEnd/>
          </a:ln>
          <a:effectLst/>
        </p:spPr>
        <p:txBody>
          <a:bodyPr lIns="72000" tIns="36000" rIns="36000" bIns="36000" anchor="ctr"/>
          <a:lstStyle/>
          <a:p>
            <a:r>
              <a:rPr lang="en-GB" sz="1000" b="1" dirty="0">
                <a:latin typeface="Arial"/>
                <a:cs typeface="Arial"/>
              </a:rPr>
              <a:t> From 8 April</a:t>
            </a:r>
          </a:p>
        </p:txBody>
      </p:sp>
      <p:grpSp>
        <p:nvGrpSpPr>
          <p:cNvPr id="16" name="Gruppieren 92">
            <a:extLst>
              <a:ext uri="{FF2B5EF4-FFF2-40B4-BE49-F238E27FC236}">
                <a16:creationId xmlns:a16="http://schemas.microsoft.com/office/drawing/2014/main" id="{82105285-8181-002E-901C-DE647EBFFFD2}"/>
              </a:ext>
            </a:extLst>
          </p:cNvPr>
          <p:cNvGrpSpPr/>
          <p:nvPr/>
        </p:nvGrpSpPr>
        <p:grpSpPr>
          <a:xfrm>
            <a:off x="4813567" y="3543676"/>
            <a:ext cx="216000" cy="216000"/>
            <a:chOff x="4937223" y="2156487"/>
            <a:chExt cx="216000" cy="216000"/>
          </a:xfrm>
        </p:grpSpPr>
        <p:sp>
          <p:nvSpPr>
            <p:cNvPr id="29" name="Freeform 71">
              <a:extLst>
                <a:ext uri="{FF2B5EF4-FFF2-40B4-BE49-F238E27FC236}">
                  <a16:creationId xmlns:a16="http://schemas.microsoft.com/office/drawing/2014/main" id="{9AB62A05-262F-C83D-EC9E-B1EE9CB1925B}"/>
                </a:ext>
              </a:extLst>
            </p:cNvPr>
            <p:cNvSpPr>
              <a:spLocks/>
            </p:cNvSpPr>
            <p:nvPr/>
          </p:nvSpPr>
          <p:spPr bwMode="auto">
            <a:xfrm>
              <a:off x="4937223" y="2156487"/>
              <a:ext cx="216000" cy="216000"/>
            </a:xfrm>
            <a:prstGeom prst="rect">
              <a:avLst/>
            </a:prstGeom>
            <a:solidFill>
              <a:srgbClr val="E06200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1219140">
                <a:defRPr/>
              </a:pPr>
              <a:endParaRPr lang="en-GB" sz="1400" kern="0" dirty="0">
                <a:latin typeface="Arial"/>
              </a:endParaRPr>
            </a:p>
          </p:txBody>
        </p:sp>
        <p:pic>
          <p:nvPicPr>
            <p:cNvPr id="43" name="Graphic 42" descr="Clipboard with solid fill">
              <a:extLst>
                <a:ext uri="{FF2B5EF4-FFF2-40B4-BE49-F238E27FC236}">
                  <a16:creationId xmlns:a16="http://schemas.microsoft.com/office/drawing/2014/main" id="{2C6F065C-42BC-C87B-E9F6-000985129885}"/>
                </a:ext>
              </a:extLst>
            </p:cNvPr>
            <p:cNvPicPr>
              <a:picLocks noChangeAspect="1"/>
            </p:cNvPicPr>
            <p:nvPr/>
          </p:nvPicPr>
          <p:blipFill>
            <a:blip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4937223" y="2156487"/>
              <a:ext cx="216000" cy="216000"/>
            </a:xfrm>
            <a:prstGeom prst="rect">
              <a:avLst/>
            </a:prstGeom>
          </p:spPr>
        </p:pic>
      </p:grpSp>
      <p:sp>
        <p:nvSpPr>
          <p:cNvPr id="45" name="Rectangle 3">
            <a:extLst>
              <a:ext uri="{FF2B5EF4-FFF2-40B4-BE49-F238E27FC236}">
                <a16:creationId xmlns:a16="http://schemas.microsoft.com/office/drawing/2014/main" id="{B41613A1-6AD5-264F-F982-B5F98D3572C5}"/>
              </a:ext>
            </a:extLst>
          </p:cNvPr>
          <p:cNvSpPr>
            <a:spLocks noChangeArrowheads="1"/>
          </p:cNvSpPr>
          <p:nvPr/>
        </p:nvSpPr>
        <p:spPr bwMode="auto">
          <a:xfrm>
            <a:off x="2717268" y="2820827"/>
            <a:ext cx="1990800" cy="25937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288000" tIns="0" rIns="0" bIns="0" anchor="t"/>
          <a:lstStyle/>
          <a:p>
            <a:pPr marL="0" lvl="1" defTabSz="685800">
              <a:lnSpc>
                <a:spcPct val="120000"/>
              </a:lnSpc>
              <a:spcBef>
                <a:spcPts val="1200"/>
              </a:spcBef>
              <a:buClr>
                <a:schemeClr val="accent6"/>
              </a:buClr>
              <a:buSzPct val="100000"/>
            </a:pPr>
            <a:r>
              <a:rPr lang="en-GB" sz="1000" dirty="0"/>
              <a:t>Enrolment for paper F open</a:t>
            </a:r>
            <a:endParaRPr lang="en-GB" sz="1000" dirty="0">
              <a:cs typeface="Arial"/>
            </a:endParaRPr>
          </a:p>
        </p:txBody>
      </p:sp>
      <p:grpSp>
        <p:nvGrpSpPr>
          <p:cNvPr id="46" name="Gruppieren 92">
            <a:extLst>
              <a:ext uri="{FF2B5EF4-FFF2-40B4-BE49-F238E27FC236}">
                <a16:creationId xmlns:a16="http://schemas.microsoft.com/office/drawing/2014/main" id="{D7A72ED7-A223-0D51-D5E0-D2B9E736F090}"/>
              </a:ext>
            </a:extLst>
          </p:cNvPr>
          <p:cNvGrpSpPr/>
          <p:nvPr/>
        </p:nvGrpSpPr>
        <p:grpSpPr>
          <a:xfrm>
            <a:off x="2753408" y="2822914"/>
            <a:ext cx="216000" cy="216000"/>
            <a:chOff x="4937223" y="2156487"/>
            <a:chExt cx="216000" cy="216000"/>
          </a:xfrm>
        </p:grpSpPr>
        <p:sp>
          <p:nvSpPr>
            <p:cNvPr id="48" name="Freeform 71">
              <a:extLst>
                <a:ext uri="{FF2B5EF4-FFF2-40B4-BE49-F238E27FC236}">
                  <a16:creationId xmlns:a16="http://schemas.microsoft.com/office/drawing/2014/main" id="{CF688764-35E1-06D1-C644-27A53CDCF718}"/>
                </a:ext>
              </a:extLst>
            </p:cNvPr>
            <p:cNvSpPr>
              <a:spLocks/>
            </p:cNvSpPr>
            <p:nvPr/>
          </p:nvSpPr>
          <p:spPr bwMode="auto">
            <a:xfrm>
              <a:off x="4937223" y="2156487"/>
              <a:ext cx="216000" cy="216000"/>
            </a:xfrm>
            <a:prstGeom prst="rect">
              <a:avLst/>
            </a:prstGeom>
            <a:solidFill>
              <a:srgbClr val="E06200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1219140">
                <a:defRPr/>
              </a:pPr>
              <a:endParaRPr lang="en-GB" sz="1400" kern="0" dirty="0">
                <a:latin typeface="Arial"/>
              </a:endParaRPr>
            </a:p>
          </p:txBody>
        </p:sp>
        <p:pic>
          <p:nvPicPr>
            <p:cNvPr id="50" name="Graphic 49" descr="Clipboard with solid fill">
              <a:extLst>
                <a:ext uri="{FF2B5EF4-FFF2-40B4-BE49-F238E27FC236}">
                  <a16:creationId xmlns:a16="http://schemas.microsoft.com/office/drawing/2014/main" id="{1557695C-3863-78C1-EAAD-0AE6D48F8458}"/>
                </a:ext>
              </a:extLst>
            </p:cNvPr>
            <p:cNvPicPr>
              <a:picLocks noChangeAspect="1"/>
            </p:cNvPicPr>
            <p:nvPr/>
          </p:nvPicPr>
          <p:blipFill>
            <a:blip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4937223" y="2156487"/>
              <a:ext cx="216000" cy="216000"/>
            </a:xfrm>
            <a:prstGeom prst="rect">
              <a:avLst/>
            </a:prstGeom>
          </p:spPr>
        </p:pic>
      </p:grpSp>
      <p:sp>
        <p:nvSpPr>
          <p:cNvPr id="9" name="AutoShape 19">
            <a:extLst>
              <a:ext uri="{FF2B5EF4-FFF2-40B4-BE49-F238E27FC236}">
                <a16:creationId xmlns:a16="http://schemas.microsoft.com/office/drawing/2014/main" id="{AB25D07E-2C26-3350-2A9C-7B46E0479D8E}"/>
              </a:ext>
            </a:extLst>
          </p:cNvPr>
          <p:cNvSpPr>
            <a:spLocks noChangeArrowheads="1"/>
          </p:cNvSpPr>
          <p:nvPr/>
        </p:nvSpPr>
        <p:spPr bwMode="auto">
          <a:xfrm>
            <a:off x="691267" y="1518345"/>
            <a:ext cx="2028600" cy="252000"/>
          </a:xfrm>
          <a:prstGeom prst="homePlate">
            <a:avLst>
              <a:gd name="adj" fmla="val 21195"/>
            </a:avLst>
          </a:prstGeom>
          <a:solidFill>
            <a:schemeClr val="accent5"/>
          </a:solidFill>
          <a:ln w="12700" algn="ctr">
            <a:noFill/>
            <a:miter lim="800000"/>
            <a:headEnd/>
            <a:tailEnd/>
          </a:ln>
          <a:effectLst/>
        </p:spPr>
        <p:txBody>
          <a:bodyPr lIns="72000" tIns="36000" rIns="36000" bIns="36000" anchor="ctr"/>
          <a:lstStyle/>
          <a:p>
            <a:r>
              <a:rPr lang="en-GB" sz="1000" b="1" dirty="0">
                <a:latin typeface="Arial"/>
                <a:cs typeface="Arial"/>
              </a:rPr>
              <a:t>April</a:t>
            </a:r>
          </a:p>
        </p:txBody>
      </p:sp>
      <p:grpSp>
        <p:nvGrpSpPr>
          <p:cNvPr id="10" name="Gruppieren 96">
            <a:extLst>
              <a:ext uri="{FF2B5EF4-FFF2-40B4-BE49-F238E27FC236}">
                <a16:creationId xmlns:a16="http://schemas.microsoft.com/office/drawing/2014/main" id="{65088B57-5A2E-7F1A-F49D-8120D901C52E}"/>
              </a:ext>
            </a:extLst>
          </p:cNvPr>
          <p:cNvGrpSpPr/>
          <p:nvPr/>
        </p:nvGrpSpPr>
        <p:grpSpPr>
          <a:xfrm>
            <a:off x="699607" y="1832504"/>
            <a:ext cx="216000" cy="216000"/>
            <a:chOff x="975749" y="1354835"/>
            <a:chExt cx="216000" cy="216000"/>
          </a:xfrm>
        </p:grpSpPr>
        <p:sp>
          <p:nvSpPr>
            <p:cNvPr id="17" name="Freeform 71">
              <a:extLst>
                <a:ext uri="{FF2B5EF4-FFF2-40B4-BE49-F238E27FC236}">
                  <a16:creationId xmlns:a16="http://schemas.microsoft.com/office/drawing/2014/main" id="{CFB79FE1-2768-F43C-107C-28B003FEE69E}"/>
                </a:ext>
              </a:extLst>
            </p:cNvPr>
            <p:cNvSpPr>
              <a:spLocks/>
            </p:cNvSpPr>
            <p:nvPr/>
          </p:nvSpPr>
          <p:spPr bwMode="auto">
            <a:xfrm>
              <a:off x="975749" y="1354835"/>
              <a:ext cx="216000" cy="216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1219140">
                <a:defRPr/>
              </a:pPr>
              <a:endParaRPr lang="en-GB" sz="1400" kern="0" dirty="0">
                <a:latin typeface="Arial"/>
              </a:endParaRPr>
            </a:p>
          </p:txBody>
        </p:sp>
        <p:pic>
          <p:nvPicPr>
            <p:cNvPr id="19" name="Graphic 38" descr="Stadt Silhouette">
              <a:extLst>
                <a:ext uri="{FF2B5EF4-FFF2-40B4-BE49-F238E27FC236}">
                  <a16:creationId xmlns:a16="http://schemas.microsoft.com/office/drawing/2014/main" id="{BAFD8964-8BF6-3CF7-0882-4358ABC09983}"/>
                </a:ext>
              </a:extLst>
            </p:cNvPr>
            <p:cNvPicPr>
              <a:picLocks noChangeAspect="1"/>
            </p:cNvPicPr>
            <p:nvPr/>
          </p:nvPicPr>
          <p:blipFill>
            <a:blip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975749" y="1354835"/>
              <a:ext cx="216000" cy="216000"/>
            </a:xfrm>
            <a:prstGeom prst="rect">
              <a:avLst/>
            </a:prstGeom>
          </p:spPr>
        </p:pic>
      </p:grpSp>
      <p:sp>
        <p:nvSpPr>
          <p:cNvPr id="20" name="TextBox 19">
            <a:extLst>
              <a:ext uri="{FF2B5EF4-FFF2-40B4-BE49-F238E27FC236}">
                <a16:creationId xmlns:a16="http://schemas.microsoft.com/office/drawing/2014/main" id="{277C3071-AAC7-AAE2-CC64-68FD2D170644}"/>
              </a:ext>
            </a:extLst>
          </p:cNvPr>
          <p:cNvSpPr txBox="1"/>
          <p:nvPr/>
        </p:nvSpPr>
        <p:spPr>
          <a:xfrm>
            <a:off x="683979" y="1810956"/>
            <a:ext cx="1990800" cy="352341"/>
          </a:xfrm>
          <a:prstGeom prst="rect">
            <a:avLst/>
          </a:prstGeom>
          <a:noFill/>
        </p:spPr>
        <p:txBody>
          <a:bodyPr wrap="square" lIns="288000" tIns="0" rIns="0" bIns="0" rtlCol="0" anchor="t">
            <a:spAutoFit/>
          </a:bodyPr>
          <a:lstStyle/>
          <a:p>
            <a:pPr>
              <a:lnSpc>
                <a:spcPct val="120000"/>
              </a:lnSpc>
              <a:spcBef>
                <a:spcPts val="1200"/>
              </a:spcBef>
            </a:pPr>
            <a:r>
              <a:rPr lang="en-GB" sz="1000" dirty="0"/>
              <a:t>Delivering the documents from EPO</a:t>
            </a:r>
            <a:endParaRPr lang="en-GB" sz="1000" dirty="0">
              <a:cs typeface="Arial"/>
            </a:endParaRPr>
          </a:p>
        </p:txBody>
      </p:sp>
      <p:sp>
        <p:nvSpPr>
          <p:cNvPr id="23" name="Rectangle: Rounded Corners 22">
            <a:extLst>
              <a:ext uri="{FF2B5EF4-FFF2-40B4-BE49-F238E27FC236}">
                <a16:creationId xmlns:a16="http://schemas.microsoft.com/office/drawing/2014/main" id="{CD918968-F45F-2E50-FD61-70B85FC51258}"/>
              </a:ext>
            </a:extLst>
          </p:cNvPr>
          <p:cNvSpPr/>
          <p:nvPr/>
        </p:nvSpPr>
        <p:spPr>
          <a:xfrm>
            <a:off x="5301208" y="6402"/>
            <a:ext cx="3391878" cy="388377"/>
          </a:xfrm>
          <a:prstGeom prst="roundRect">
            <a:avLst/>
          </a:prstGeom>
        </p:spPr>
        <p:style>
          <a:lnRef idx="2">
            <a:schemeClr val="accent6">
              <a:shade val="15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GB" dirty="0"/>
              <a:t>Only for internal use by NPOs</a:t>
            </a: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2CC1F064-998A-CF51-E452-0D1597C6F316}"/>
              </a:ext>
            </a:extLst>
          </p:cNvPr>
          <p:cNvGrpSpPr/>
          <p:nvPr/>
        </p:nvGrpSpPr>
        <p:grpSpPr>
          <a:xfrm>
            <a:off x="6411357" y="4376162"/>
            <a:ext cx="606961" cy="216000"/>
            <a:chOff x="684331" y="4371241"/>
            <a:chExt cx="606961" cy="216000"/>
          </a:xfrm>
        </p:grpSpPr>
        <p:sp>
          <p:nvSpPr>
            <p:cNvPr id="34" name="Textfeld 443">
              <a:extLst>
                <a:ext uri="{FF2B5EF4-FFF2-40B4-BE49-F238E27FC236}">
                  <a16:creationId xmlns:a16="http://schemas.microsoft.com/office/drawing/2014/main" id="{553585B8-ED62-55D9-94DB-2F369E36EC63}"/>
                </a:ext>
              </a:extLst>
            </p:cNvPr>
            <p:cNvSpPr txBox="1"/>
            <p:nvPr/>
          </p:nvSpPr>
          <p:spPr>
            <a:xfrm>
              <a:off x="949852" y="4410021"/>
              <a:ext cx="341440" cy="153888"/>
            </a:xfrm>
            <a:prstGeom prst="rect">
              <a:avLst/>
            </a:prstGeom>
          </p:spPr>
          <p:txBody>
            <a:bodyPr wrap="none" lIns="0" tIns="0" rIns="0" bIns="0" rtlCol="0" anchor="ctr" anchorCtr="0">
              <a:spAutoFit/>
            </a:bodyPr>
            <a:lstStyle/>
            <a:p>
              <a:r>
                <a:rPr lang="en-GB" sz="1000" dirty="0">
                  <a:cs typeface="Arial"/>
                </a:rPr>
                <a:t>NPOs</a:t>
              </a:r>
            </a:p>
          </p:txBody>
        </p:sp>
        <p:grpSp>
          <p:nvGrpSpPr>
            <p:cNvPr id="53" name="Group 52">
              <a:extLst>
                <a:ext uri="{FF2B5EF4-FFF2-40B4-BE49-F238E27FC236}">
                  <a16:creationId xmlns:a16="http://schemas.microsoft.com/office/drawing/2014/main" id="{5B82F8FF-E52F-7965-EFB7-7D217A01A2EA}"/>
                </a:ext>
              </a:extLst>
            </p:cNvPr>
            <p:cNvGrpSpPr/>
            <p:nvPr/>
          </p:nvGrpSpPr>
          <p:grpSpPr>
            <a:xfrm>
              <a:off x="684331" y="4371241"/>
              <a:ext cx="216000" cy="216000"/>
              <a:chOff x="10075426" y="2746185"/>
              <a:chExt cx="216000" cy="216000"/>
            </a:xfrm>
          </p:grpSpPr>
          <p:sp>
            <p:nvSpPr>
              <p:cNvPr id="54" name="Freeform 71">
                <a:extLst>
                  <a:ext uri="{FF2B5EF4-FFF2-40B4-BE49-F238E27FC236}">
                    <a16:creationId xmlns:a16="http://schemas.microsoft.com/office/drawing/2014/main" id="{8FC7455A-00AC-841E-60A4-2D8E9A31019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075426" y="2746185"/>
                <a:ext cx="216000" cy="216000"/>
              </a:xfrm>
              <a:prstGeom prst="rect">
                <a:avLst/>
              </a:prstGeom>
              <a:solidFill>
                <a:schemeClr val="tx1"/>
              </a:solidFill>
              <a:ln>
                <a:noFill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defTabSz="1219140">
                  <a:defRPr/>
                </a:pPr>
                <a:endParaRPr lang="en-GB" sz="1400" kern="0" dirty="0">
                  <a:latin typeface="Arial"/>
                </a:endParaRPr>
              </a:p>
            </p:txBody>
          </p:sp>
          <p:pic>
            <p:nvPicPr>
              <p:cNvPr id="55" name="Graphic 54" descr="Court outline">
                <a:extLst>
                  <a:ext uri="{FF2B5EF4-FFF2-40B4-BE49-F238E27FC236}">
                    <a16:creationId xmlns:a16="http://schemas.microsoft.com/office/drawing/2014/main" id="{0C7BA4B1-6A49-0F2F-CAFC-9A351A1C018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>
                <a:extLs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10075426" y="2746185"/>
                <a:ext cx="216000" cy="216000"/>
              </a:xfrm>
              <a:prstGeom prst="rect">
                <a:avLst/>
              </a:prstGeom>
            </p:spPr>
          </p:pic>
        </p:grpSp>
      </p:grpSp>
    </p:spTree>
    <p:extLst>
      <p:ext uri="{BB962C8B-B14F-4D97-AF65-F5344CB8AC3E}">
        <p14:creationId xmlns:p14="http://schemas.microsoft.com/office/powerpoint/2010/main" val="258247808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>
            <a:extLst>
              <a:ext uri="{FF2B5EF4-FFF2-40B4-BE49-F238E27FC236}">
                <a16:creationId xmlns:a16="http://schemas.microsoft.com/office/drawing/2014/main" id="{87191916-6716-766D-59A2-9E566FA010A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6701" y="804213"/>
            <a:ext cx="8114400" cy="553998"/>
          </a:xfrm>
        </p:spPr>
        <p:txBody>
          <a:bodyPr/>
          <a:lstStyle/>
          <a:p>
            <a:r>
              <a:rPr lang="en-GB" dirty="0"/>
              <a:t>IMPORTANT STEPS for NATIONAL PATENT OFFICES OF</a:t>
            </a:r>
            <a:br>
              <a:rPr lang="en-GB" dirty="0"/>
            </a:br>
            <a:r>
              <a:rPr lang="en-GB" dirty="0"/>
              <a:t>MEMBER STATES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D065F8D1-60A5-2D97-EBC0-49684F0EBAA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401101" y="481662"/>
            <a:ext cx="5400000" cy="167675"/>
          </a:xfrm>
        </p:spPr>
        <p:txBody>
          <a:bodyPr/>
          <a:lstStyle/>
          <a:p>
            <a:r>
              <a:rPr lang="en-US" dirty="0"/>
              <a:t>CANDIDATE SUPPORT PROGRAMME (CSP – EQE)</a:t>
            </a:r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171C9AA-38CF-41B8-AD64-F02FF40637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261101" y="4640518"/>
            <a:ext cx="540000" cy="123111"/>
          </a:xfrm>
        </p:spPr>
        <p:txBody>
          <a:bodyPr/>
          <a:lstStyle/>
          <a:p>
            <a:fld id="{B6EAC15D-B94B-4B86-ABD3-3EDECDB333F5}" type="slidenum">
              <a:rPr lang="en-GB" smtClean="0"/>
              <a:pPr/>
              <a:t>6</a:t>
            </a:fld>
            <a:endParaRPr lang="en-GB" dirty="0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B69DE5B0-DD18-DFB3-3612-C977C7068245}"/>
              </a:ext>
            </a:extLst>
          </p:cNvPr>
          <p:cNvSpPr txBox="1"/>
          <p:nvPr/>
        </p:nvSpPr>
        <p:spPr>
          <a:xfrm>
            <a:off x="2818904" y="1699795"/>
            <a:ext cx="1918800" cy="73096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88900" algn="ctr">
              <a:spcBef>
                <a:spcPts val="300"/>
              </a:spcBef>
              <a:buClr>
                <a:schemeClr val="accent6"/>
              </a:buClr>
            </a:pPr>
            <a:r>
              <a:rPr lang="en-GB" sz="900" b="1" dirty="0">
                <a:cs typeface="Arial"/>
              </a:rPr>
              <a:t>(for publishing on the website)</a:t>
            </a:r>
          </a:p>
          <a:p>
            <a:pPr marL="266700" indent="-177800">
              <a:spcBef>
                <a:spcPts val="300"/>
              </a:spcBef>
              <a:buClr>
                <a:schemeClr val="accent6"/>
              </a:buClr>
              <a:buFont typeface="Wingdings" panose="05000000000000000000" pitchFamily="2" charset="2"/>
              <a:buChar char="n"/>
            </a:pPr>
            <a:r>
              <a:rPr lang="en-GB" sz="900" dirty="0"/>
              <a:t>Conditions for participation</a:t>
            </a:r>
            <a:endParaRPr lang="en-GB" sz="900" dirty="0">
              <a:cs typeface="Arial"/>
            </a:endParaRPr>
          </a:p>
          <a:p>
            <a:pPr marL="266700" indent="-177800">
              <a:buClr>
                <a:schemeClr val="accent6"/>
              </a:buClr>
              <a:buFont typeface="Wingdings" panose="05000000000000000000" pitchFamily="2" charset="2"/>
              <a:buChar char="n"/>
            </a:pPr>
            <a:r>
              <a:rPr lang="en-GB" sz="900" dirty="0"/>
              <a:t>Promotional materials</a:t>
            </a:r>
          </a:p>
          <a:p>
            <a:pPr marL="266700" indent="-177800">
              <a:buClr>
                <a:schemeClr val="accent6"/>
              </a:buClr>
              <a:buFont typeface="Wingdings" panose="05000000000000000000" pitchFamily="2" charset="2"/>
              <a:buChar char="n"/>
            </a:pPr>
            <a:r>
              <a:rPr lang="en-GB" sz="900" dirty="0">
                <a:cs typeface="Arial"/>
              </a:rPr>
              <a:t>Info text on CSP for EQE with included link to application form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A82B91E5-98A2-7067-900B-8F56FCCD9DB6}"/>
              </a:ext>
            </a:extLst>
          </p:cNvPr>
          <p:cNvSpPr txBox="1"/>
          <p:nvPr/>
        </p:nvSpPr>
        <p:spPr>
          <a:xfrm>
            <a:off x="4834462" y="1683230"/>
            <a:ext cx="1918800" cy="73096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88900" algn="ctr">
              <a:spcBef>
                <a:spcPts val="300"/>
              </a:spcBef>
              <a:buClr>
                <a:schemeClr val="accent6"/>
              </a:buClr>
            </a:pPr>
            <a:r>
              <a:rPr lang="en-GB" sz="900" b="1" dirty="0">
                <a:cs typeface="Arial"/>
              </a:rPr>
              <a:t>(for internal use only)</a:t>
            </a:r>
            <a:endParaRPr lang="en-US" b="1"/>
          </a:p>
          <a:p>
            <a:pPr marL="266700" indent="-177800">
              <a:spcBef>
                <a:spcPts val="300"/>
              </a:spcBef>
              <a:buClr>
                <a:schemeClr val="accent6"/>
              </a:buClr>
              <a:buFont typeface="Wingdings" panose="05000000000000000000" pitchFamily="2" charset="2"/>
              <a:buChar char="n"/>
            </a:pPr>
            <a:r>
              <a:rPr lang="en-GB" sz="900" dirty="0"/>
              <a:t>Overview for the CSP for EQE</a:t>
            </a:r>
            <a:endParaRPr lang="en-GB" sz="900" dirty="0">
              <a:cs typeface="Arial"/>
            </a:endParaRPr>
          </a:p>
          <a:p>
            <a:pPr marL="266700" indent="-177800">
              <a:buClr>
                <a:schemeClr val="accent6"/>
              </a:buClr>
              <a:buFont typeface="Wingdings" panose="05000000000000000000" pitchFamily="2" charset="2"/>
              <a:buChar char="n"/>
            </a:pPr>
            <a:r>
              <a:rPr lang="en-GB" sz="900" dirty="0"/>
              <a:t>Conditions for participation</a:t>
            </a:r>
            <a:endParaRPr lang="en-GB" sz="900" dirty="0">
              <a:cs typeface="Arial"/>
            </a:endParaRPr>
          </a:p>
          <a:p>
            <a:pPr marL="266700" indent="-177800">
              <a:buClr>
                <a:schemeClr val="accent6"/>
              </a:buClr>
              <a:buFont typeface="Wingdings" panose="05000000000000000000" pitchFamily="2" charset="2"/>
              <a:buChar char="n"/>
            </a:pPr>
            <a:r>
              <a:rPr lang="en-GB" sz="900" dirty="0">
                <a:cs typeface="Arial"/>
              </a:rPr>
              <a:t>Guide for using SAP platform</a:t>
            </a:r>
          </a:p>
          <a:p>
            <a:pPr marL="266700" indent="-177800">
              <a:buClr>
                <a:schemeClr val="accent6"/>
              </a:buClr>
              <a:buFont typeface="Wingdings" panose="05000000000000000000" pitchFamily="2" charset="2"/>
              <a:buChar char="n"/>
            </a:pPr>
            <a:r>
              <a:rPr lang="en-GB" sz="900" dirty="0">
                <a:cs typeface="Arial"/>
              </a:rPr>
              <a:t>Indicative criteria for selection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2E84C368-92FF-5A7E-83EC-0D18D4B5CB06}"/>
              </a:ext>
            </a:extLst>
          </p:cNvPr>
          <p:cNvSpPr txBox="1"/>
          <p:nvPr/>
        </p:nvSpPr>
        <p:spPr>
          <a:xfrm>
            <a:off x="3783256" y="2432457"/>
            <a:ext cx="1918800" cy="313350"/>
          </a:xfrm>
          <a:prstGeom prst="rect">
            <a:avLst/>
          </a:prstGeom>
          <a:noFill/>
        </p:spPr>
        <p:txBody>
          <a:bodyPr wrap="square" lIns="18000" tIns="18000" rIns="18000" bIns="18000" rtlCol="0" anchor="t">
            <a:spAutoFit/>
          </a:bodyPr>
          <a:lstStyle/>
          <a:p>
            <a:pPr algn="ctr"/>
            <a:r>
              <a:rPr lang="en-GB" sz="900" b="1" dirty="0"/>
              <a:t>WHEN?</a:t>
            </a:r>
            <a:endParaRPr lang="en-GB" sz="900" b="1" dirty="0">
              <a:cs typeface="Arial"/>
            </a:endParaRPr>
          </a:p>
          <a:p>
            <a:pPr algn="ctr"/>
            <a:r>
              <a:rPr lang="en-GB" sz="900" b="1" dirty="0">
                <a:solidFill>
                  <a:schemeClr val="accent6"/>
                </a:solidFill>
              </a:rPr>
              <a:t>16 April</a:t>
            </a:r>
            <a:endParaRPr lang="en-GB" sz="900" b="1" dirty="0">
              <a:solidFill>
                <a:schemeClr val="accent6"/>
              </a:solidFill>
              <a:cs typeface="Arial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DA6E783F-EB5D-C130-2870-C9749E355783}"/>
              </a:ext>
            </a:extLst>
          </p:cNvPr>
          <p:cNvSpPr txBox="1"/>
          <p:nvPr/>
        </p:nvSpPr>
        <p:spPr>
          <a:xfrm>
            <a:off x="6883152" y="2933994"/>
            <a:ext cx="1918800" cy="313350"/>
          </a:xfrm>
          <a:prstGeom prst="rect">
            <a:avLst/>
          </a:prstGeom>
          <a:noFill/>
        </p:spPr>
        <p:txBody>
          <a:bodyPr wrap="square" lIns="18000" tIns="18000" rIns="18000" bIns="18000" rtlCol="0" anchor="t">
            <a:spAutoFit/>
          </a:bodyPr>
          <a:lstStyle/>
          <a:p>
            <a:pPr algn="ctr"/>
            <a:r>
              <a:rPr lang="en-GB" sz="900" b="1" dirty="0"/>
              <a:t>WHEN?</a:t>
            </a:r>
            <a:endParaRPr lang="en-GB" sz="900" b="1" dirty="0">
              <a:cs typeface="Arial"/>
            </a:endParaRPr>
          </a:p>
          <a:p>
            <a:pPr algn="ctr"/>
            <a:r>
              <a:rPr lang="en-GB" sz="900" b="1" dirty="0">
                <a:solidFill>
                  <a:schemeClr val="accent6"/>
                </a:solidFill>
              </a:rPr>
              <a:t>01 June - 10 July</a:t>
            </a:r>
            <a:endParaRPr lang="en-GB" sz="900" b="1" dirty="0">
              <a:solidFill>
                <a:schemeClr val="accent6"/>
              </a:solidFill>
              <a:cs typeface="Arial"/>
            </a:endParaRP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F4DB5A8C-30BF-7608-2FCC-F3570DA97280}"/>
              </a:ext>
            </a:extLst>
          </p:cNvPr>
          <p:cNvSpPr txBox="1"/>
          <p:nvPr/>
        </p:nvSpPr>
        <p:spPr>
          <a:xfrm>
            <a:off x="3600781" y="2942228"/>
            <a:ext cx="2349443" cy="313350"/>
          </a:xfrm>
          <a:prstGeom prst="rect">
            <a:avLst/>
          </a:prstGeom>
          <a:noFill/>
        </p:spPr>
        <p:txBody>
          <a:bodyPr wrap="square" lIns="18000" tIns="18000" rIns="18000" bIns="18000" rtlCol="0" anchor="t">
            <a:spAutoFit/>
          </a:bodyPr>
          <a:lstStyle/>
          <a:p>
            <a:pPr algn="ctr"/>
            <a:r>
              <a:rPr lang="en-GB" sz="900" b="1" dirty="0"/>
              <a:t>WHEN?</a:t>
            </a:r>
            <a:endParaRPr lang="en-GB" sz="900" b="1" dirty="0">
              <a:cs typeface="Arial"/>
            </a:endParaRPr>
          </a:p>
          <a:p>
            <a:pPr algn="ctr"/>
            <a:r>
              <a:rPr lang="en-GB" sz="900" b="1" dirty="0">
                <a:solidFill>
                  <a:schemeClr val="accent6"/>
                </a:solidFill>
              </a:rPr>
              <a:t>until 20 April</a:t>
            </a:r>
            <a:endParaRPr lang="en-GB" sz="900" b="1" dirty="0">
              <a:solidFill>
                <a:schemeClr val="accent6"/>
              </a:solidFill>
              <a:cs typeface="Arial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D402F355-169E-665D-7BBF-B5283CB70A45}"/>
              </a:ext>
            </a:extLst>
          </p:cNvPr>
          <p:cNvSpPr txBox="1"/>
          <p:nvPr/>
        </p:nvSpPr>
        <p:spPr>
          <a:xfrm>
            <a:off x="684213" y="3000326"/>
            <a:ext cx="1918795" cy="169277"/>
          </a:xfrm>
          <a:prstGeom prst="rect">
            <a:avLst/>
          </a:prstGeom>
          <a:noFill/>
        </p:spPr>
        <p:txBody>
          <a:bodyPr wrap="none" lIns="0" tIns="0" rIns="0" bIns="0" rtlCol="0" anchor="t">
            <a:spAutoFit/>
          </a:bodyPr>
          <a:lstStyle/>
          <a:p>
            <a:r>
              <a:rPr lang="en-GB" sz="1100" b="1" dirty="0">
                <a:solidFill>
                  <a:schemeClr val="accent6"/>
                </a:solidFill>
                <a:cs typeface="Arial"/>
              </a:rPr>
              <a:t>Required actions from NPOs</a:t>
            </a:r>
            <a:endParaRPr lang="en-US" sz="1100" dirty="0">
              <a:solidFill>
                <a:schemeClr val="accent6"/>
              </a:solidFill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4E646CDF-1F1F-94FB-E3E4-FF31855BB058}"/>
              </a:ext>
            </a:extLst>
          </p:cNvPr>
          <p:cNvSpPr txBox="1"/>
          <p:nvPr/>
        </p:nvSpPr>
        <p:spPr>
          <a:xfrm>
            <a:off x="689982" y="1519925"/>
            <a:ext cx="1758471" cy="32316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r>
              <a:rPr lang="en-GB" sz="1050" b="1" dirty="0">
                <a:solidFill>
                  <a:schemeClr val="accent6"/>
                </a:solidFill>
                <a:cs typeface="Arial"/>
              </a:rPr>
              <a:t>Documents prepared by EPO and shared with NPOs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A6399F54-0610-0FB2-14DF-6ADE4326E29D}"/>
              </a:ext>
            </a:extLst>
          </p:cNvPr>
          <p:cNvSpPr txBox="1"/>
          <p:nvPr/>
        </p:nvSpPr>
        <p:spPr>
          <a:xfrm>
            <a:off x="6883152" y="3293461"/>
            <a:ext cx="1918800" cy="1272143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r>
              <a:rPr lang="en-GB" sz="900" b="1" dirty="0"/>
              <a:t>Conduct selection and nomination procedure</a:t>
            </a:r>
            <a:endParaRPr lang="en-GB" sz="900" b="1" dirty="0">
              <a:cs typeface="Arial"/>
            </a:endParaRPr>
          </a:p>
          <a:p>
            <a:pPr marL="266700" indent="-177800">
              <a:spcBef>
                <a:spcPts val="200"/>
              </a:spcBef>
              <a:buClr>
                <a:schemeClr val="accent6"/>
              </a:buClr>
              <a:buFont typeface="Wingdings" panose="05000000000000000000" pitchFamily="2" charset="2"/>
              <a:buChar char="n"/>
            </a:pPr>
            <a:r>
              <a:rPr lang="en-GB" sz="900" dirty="0"/>
              <a:t>Download candidates' applications from </a:t>
            </a:r>
            <a:r>
              <a:rPr lang="en-GB" sz="900" dirty="0" err="1"/>
              <a:t>SiAP</a:t>
            </a:r>
            <a:r>
              <a:rPr lang="en-GB" sz="900" dirty="0"/>
              <a:t> platform</a:t>
            </a:r>
            <a:endParaRPr lang="en-GB" sz="900" dirty="0">
              <a:cs typeface="Arial"/>
            </a:endParaRPr>
          </a:p>
          <a:p>
            <a:pPr marL="266700" indent="-177800">
              <a:buClr>
                <a:schemeClr val="accent6"/>
              </a:buClr>
              <a:buFont typeface="Wingdings" panose="05000000000000000000" pitchFamily="2" charset="2"/>
              <a:buChar char="n"/>
            </a:pPr>
            <a:r>
              <a:rPr lang="en-GB" sz="900" dirty="0"/>
              <a:t>Review the applications</a:t>
            </a:r>
          </a:p>
          <a:p>
            <a:pPr marL="266700" indent="-177800">
              <a:buClr>
                <a:schemeClr val="accent6"/>
              </a:buClr>
              <a:buFont typeface="Wingdings" panose="05000000000000000000" pitchFamily="2" charset="2"/>
              <a:buChar char="n"/>
            </a:pPr>
            <a:r>
              <a:rPr lang="en-GB" sz="900" dirty="0"/>
              <a:t>Share the names of selected candidates with the EPO</a:t>
            </a:r>
            <a:endParaRPr lang="en-GB" sz="900" dirty="0">
              <a:cs typeface="Arial"/>
            </a:endParaRPr>
          </a:p>
          <a:p>
            <a:pPr marL="266700" indent="-177800">
              <a:buClr>
                <a:schemeClr val="accent6"/>
              </a:buClr>
              <a:buFont typeface="Wingdings" panose="05000000000000000000" pitchFamily="2" charset="2"/>
              <a:buChar char="n"/>
            </a:pPr>
            <a:r>
              <a:rPr lang="en-GB" sz="900" dirty="0"/>
              <a:t>Inform the candidates that were not selected</a:t>
            </a:r>
          </a:p>
        </p:txBody>
      </p:sp>
      <p:sp>
        <p:nvSpPr>
          <p:cNvPr id="39" name="Rechteck 38">
            <a:extLst>
              <a:ext uri="{FF2B5EF4-FFF2-40B4-BE49-F238E27FC236}">
                <a16:creationId xmlns:a16="http://schemas.microsoft.com/office/drawing/2014/main" id="{E1993267-4489-C1EB-690C-51FA3B503AA8}"/>
              </a:ext>
            </a:extLst>
          </p:cNvPr>
          <p:cNvSpPr/>
          <p:nvPr/>
        </p:nvSpPr>
        <p:spPr>
          <a:xfrm>
            <a:off x="687388" y="2761433"/>
            <a:ext cx="8113712" cy="156936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cxnSp>
        <p:nvCxnSpPr>
          <p:cNvPr id="50" name="Gerader Verbinder 49">
            <a:extLst>
              <a:ext uri="{FF2B5EF4-FFF2-40B4-BE49-F238E27FC236}">
                <a16:creationId xmlns:a16="http://schemas.microsoft.com/office/drawing/2014/main" id="{FA41022B-04D5-4D39-81FA-0F8A63BBEEB8}"/>
              </a:ext>
            </a:extLst>
          </p:cNvPr>
          <p:cNvCxnSpPr/>
          <p:nvPr/>
        </p:nvCxnSpPr>
        <p:spPr>
          <a:xfrm>
            <a:off x="4817897" y="2410460"/>
            <a:ext cx="19188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Gerader Verbinder 50">
            <a:extLst>
              <a:ext uri="{FF2B5EF4-FFF2-40B4-BE49-F238E27FC236}">
                <a16:creationId xmlns:a16="http://schemas.microsoft.com/office/drawing/2014/main" id="{973941A9-9430-E929-07E0-B5D1B52A4D29}"/>
              </a:ext>
            </a:extLst>
          </p:cNvPr>
          <p:cNvCxnSpPr/>
          <p:nvPr/>
        </p:nvCxnSpPr>
        <p:spPr>
          <a:xfrm>
            <a:off x="2752643" y="2410460"/>
            <a:ext cx="19188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5" name="Group 14">
            <a:extLst>
              <a:ext uri="{FF2B5EF4-FFF2-40B4-BE49-F238E27FC236}">
                <a16:creationId xmlns:a16="http://schemas.microsoft.com/office/drawing/2014/main" id="{32C38501-4C3B-604B-7504-95A995E5365C}"/>
              </a:ext>
            </a:extLst>
          </p:cNvPr>
          <p:cNvGrpSpPr/>
          <p:nvPr/>
        </p:nvGrpSpPr>
        <p:grpSpPr>
          <a:xfrm>
            <a:off x="3568358" y="3258693"/>
            <a:ext cx="2349444" cy="880765"/>
            <a:chOff x="2752643" y="3269341"/>
            <a:chExt cx="2349444" cy="880765"/>
          </a:xfrm>
        </p:grpSpPr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420A86E5-28BA-3218-D5FD-FF6A0EB34D43}"/>
                </a:ext>
              </a:extLst>
            </p:cNvPr>
            <p:cNvSpPr txBox="1"/>
            <p:nvPr/>
          </p:nvSpPr>
          <p:spPr>
            <a:xfrm>
              <a:off x="2752643" y="3293461"/>
              <a:ext cx="2349444" cy="856645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r>
                <a:rPr lang="en-GB" sz="900" b="1" dirty="0"/>
                <a:t>Publishing on the website</a:t>
              </a:r>
              <a:endParaRPr lang="en-GB" sz="900" b="1" dirty="0">
                <a:cs typeface="Arial"/>
              </a:endParaRPr>
            </a:p>
            <a:p>
              <a:pPr marL="266700" indent="-177800">
                <a:buClr>
                  <a:schemeClr val="accent6"/>
                </a:buClr>
                <a:buFont typeface="Wingdings,Sans-Serif" panose="05000000000000000000" pitchFamily="2" charset="2"/>
                <a:buChar char="n"/>
              </a:pPr>
              <a:r>
                <a:rPr lang="en-GB" sz="900" dirty="0"/>
                <a:t>"Conditions for participation" document</a:t>
              </a:r>
              <a:endParaRPr lang="en-US" sz="900" dirty="0"/>
            </a:p>
            <a:p>
              <a:pPr marL="266700" indent="-177800">
                <a:spcBef>
                  <a:spcPts val="200"/>
                </a:spcBef>
                <a:buClr>
                  <a:schemeClr val="accent6"/>
                </a:buClr>
                <a:buFont typeface="Wingdings" panose="05000000000000000000" pitchFamily="2" charset="2"/>
                <a:buChar char="n"/>
              </a:pPr>
              <a:r>
                <a:rPr lang="en-GB" sz="900" dirty="0"/>
                <a:t>Info text on CSP for EQE with included link to application form and "Conditions for participation" document</a:t>
              </a:r>
              <a:endParaRPr lang="en-GB" sz="900" dirty="0">
                <a:cs typeface="Arial"/>
              </a:endParaRPr>
            </a:p>
            <a:p>
              <a:pPr marL="266700" indent="-177800">
                <a:buClr>
                  <a:schemeClr val="accent6"/>
                </a:buClr>
                <a:buFont typeface="Wingdings" panose="05000000000000000000" pitchFamily="2" charset="2"/>
                <a:buChar char="n"/>
              </a:pPr>
              <a:r>
                <a:rPr lang="en-GB" sz="900" dirty="0"/>
                <a:t>Optionally: promotional materials</a:t>
              </a:r>
            </a:p>
          </p:txBody>
        </p:sp>
        <p:cxnSp>
          <p:nvCxnSpPr>
            <p:cNvPr id="53" name="Gerader Verbinder 52">
              <a:extLst>
                <a:ext uri="{FF2B5EF4-FFF2-40B4-BE49-F238E27FC236}">
                  <a16:creationId xmlns:a16="http://schemas.microsoft.com/office/drawing/2014/main" id="{1CB35B88-557C-11CC-913D-FFC1E0CD47EA}"/>
                </a:ext>
              </a:extLst>
            </p:cNvPr>
            <p:cNvCxnSpPr>
              <a:cxnSpLocks/>
            </p:cNvCxnSpPr>
            <p:nvPr/>
          </p:nvCxnSpPr>
          <p:spPr>
            <a:xfrm>
              <a:off x="2752643" y="3269341"/>
              <a:ext cx="2349444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54" name="Gerader Verbinder 53">
            <a:extLst>
              <a:ext uri="{FF2B5EF4-FFF2-40B4-BE49-F238E27FC236}">
                <a16:creationId xmlns:a16="http://schemas.microsoft.com/office/drawing/2014/main" id="{40913B14-5C35-B4F9-C803-D498C7FDDC0B}"/>
              </a:ext>
            </a:extLst>
          </p:cNvPr>
          <p:cNvCxnSpPr/>
          <p:nvPr/>
        </p:nvCxnSpPr>
        <p:spPr>
          <a:xfrm>
            <a:off x="6883152" y="3269341"/>
            <a:ext cx="19188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Gerader Verbinder 55">
            <a:extLst>
              <a:ext uri="{FF2B5EF4-FFF2-40B4-BE49-F238E27FC236}">
                <a16:creationId xmlns:a16="http://schemas.microsoft.com/office/drawing/2014/main" id="{8A468298-01DA-29A0-0388-9679F86524AD}"/>
              </a:ext>
            </a:extLst>
          </p:cNvPr>
          <p:cNvCxnSpPr>
            <a:cxnSpLocks/>
          </p:cNvCxnSpPr>
          <p:nvPr/>
        </p:nvCxnSpPr>
        <p:spPr>
          <a:xfrm flipV="1">
            <a:off x="684213" y="4589463"/>
            <a:ext cx="8116887" cy="0"/>
          </a:xfrm>
          <a:prstGeom prst="line">
            <a:avLst/>
          </a:prstGeom>
          <a:ln cap="rnd">
            <a:solidFill>
              <a:schemeClr val="accent6"/>
            </a:solidFill>
            <a:round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Gerader Verbinder 56">
            <a:extLst>
              <a:ext uri="{FF2B5EF4-FFF2-40B4-BE49-F238E27FC236}">
                <a16:creationId xmlns:a16="http://schemas.microsoft.com/office/drawing/2014/main" id="{887F9E16-B73A-3759-140D-75C081F0103D}"/>
              </a:ext>
            </a:extLst>
          </p:cNvPr>
          <p:cNvCxnSpPr>
            <a:cxnSpLocks/>
          </p:cNvCxnSpPr>
          <p:nvPr/>
        </p:nvCxnSpPr>
        <p:spPr>
          <a:xfrm flipH="1" flipV="1">
            <a:off x="684213" y="1479025"/>
            <a:ext cx="8116887" cy="0"/>
          </a:xfrm>
          <a:prstGeom prst="line">
            <a:avLst/>
          </a:prstGeom>
          <a:ln cap="rnd">
            <a:solidFill>
              <a:schemeClr val="accent6"/>
            </a:solidFill>
            <a:round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Gleichschenkliges Dreieck 18">
            <a:extLst>
              <a:ext uri="{FF2B5EF4-FFF2-40B4-BE49-F238E27FC236}">
                <a16:creationId xmlns:a16="http://schemas.microsoft.com/office/drawing/2014/main" id="{18ADA2E6-B741-E460-22E2-4BB5C38E5F58}"/>
              </a:ext>
            </a:extLst>
          </p:cNvPr>
          <p:cNvSpPr/>
          <p:nvPr/>
        </p:nvSpPr>
        <p:spPr>
          <a:xfrm flipV="1">
            <a:off x="7744814" y="2796606"/>
            <a:ext cx="195478" cy="86590"/>
          </a:xfrm>
          <a:custGeom>
            <a:avLst/>
            <a:gdLst>
              <a:gd name="connsiteX0" fmla="*/ 0 w 152400"/>
              <a:gd name="connsiteY0" fmla="*/ 131380 h 131380"/>
              <a:gd name="connsiteX1" fmla="*/ 76200 w 152400"/>
              <a:gd name="connsiteY1" fmla="*/ 0 h 131380"/>
              <a:gd name="connsiteX2" fmla="*/ 152400 w 152400"/>
              <a:gd name="connsiteY2" fmla="*/ 131380 h 131380"/>
              <a:gd name="connsiteX3" fmla="*/ 0 w 152400"/>
              <a:gd name="connsiteY3" fmla="*/ 131380 h 131380"/>
              <a:gd name="connsiteX0" fmla="*/ 0 w 152400"/>
              <a:gd name="connsiteY0" fmla="*/ 131380 h 222820"/>
              <a:gd name="connsiteX1" fmla="*/ 76200 w 152400"/>
              <a:gd name="connsiteY1" fmla="*/ 0 h 222820"/>
              <a:gd name="connsiteX2" fmla="*/ 152400 w 152400"/>
              <a:gd name="connsiteY2" fmla="*/ 131380 h 222820"/>
              <a:gd name="connsiteX3" fmla="*/ 91440 w 152400"/>
              <a:gd name="connsiteY3" fmla="*/ 222820 h 222820"/>
              <a:gd name="connsiteX0" fmla="*/ 0 w 152400"/>
              <a:gd name="connsiteY0" fmla="*/ 131380 h 131380"/>
              <a:gd name="connsiteX1" fmla="*/ 76200 w 152400"/>
              <a:gd name="connsiteY1" fmla="*/ 0 h 131380"/>
              <a:gd name="connsiteX2" fmla="*/ 152400 w 152400"/>
              <a:gd name="connsiteY2" fmla="*/ 131380 h 1313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52400" h="131380">
                <a:moveTo>
                  <a:pt x="0" y="131380"/>
                </a:moveTo>
                <a:lnTo>
                  <a:pt x="76200" y="0"/>
                </a:lnTo>
                <a:lnTo>
                  <a:pt x="152400" y="131380"/>
                </a:lnTo>
              </a:path>
            </a:pathLst>
          </a:custGeom>
          <a:noFill/>
          <a:ln w="15875" cap="rnd">
            <a:solidFill>
              <a:schemeClr val="accent6"/>
            </a:solidFill>
            <a:round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E8765A8D-AE2E-5F15-6467-3EE2A8E10427}"/>
              </a:ext>
            </a:extLst>
          </p:cNvPr>
          <p:cNvSpPr txBox="1"/>
          <p:nvPr/>
        </p:nvSpPr>
        <p:spPr>
          <a:xfrm>
            <a:off x="3069170" y="1528072"/>
            <a:ext cx="3031931" cy="1384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ctr"/>
            <a:r>
              <a:rPr lang="en-GB" sz="900" b="1" dirty="0"/>
              <a:t>NPO receives following documents </a:t>
            </a:r>
            <a:endParaRPr lang="en-GB" sz="900" b="1" dirty="0">
              <a:cs typeface="Arial"/>
            </a:endParaRPr>
          </a:p>
        </p:txBody>
      </p:sp>
      <p:sp>
        <p:nvSpPr>
          <p:cNvPr id="7" name="Gleichschenkliges Dreieck 18">
            <a:extLst>
              <a:ext uri="{FF2B5EF4-FFF2-40B4-BE49-F238E27FC236}">
                <a16:creationId xmlns:a16="http://schemas.microsoft.com/office/drawing/2014/main" id="{D0DFA8A6-AB8D-4866-0732-649F1D865FD7}"/>
              </a:ext>
            </a:extLst>
          </p:cNvPr>
          <p:cNvSpPr/>
          <p:nvPr/>
        </p:nvSpPr>
        <p:spPr>
          <a:xfrm flipV="1">
            <a:off x="4644917" y="2794987"/>
            <a:ext cx="195478" cy="86590"/>
          </a:xfrm>
          <a:custGeom>
            <a:avLst/>
            <a:gdLst>
              <a:gd name="connsiteX0" fmla="*/ 0 w 152400"/>
              <a:gd name="connsiteY0" fmla="*/ 131380 h 131380"/>
              <a:gd name="connsiteX1" fmla="*/ 76200 w 152400"/>
              <a:gd name="connsiteY1" fmla="*/ 0 h 131380"/>
              <a:gd name="connsiteX2" fmla="*/ 152400 w 152400"/>
              <a:gd name="connsiteY2" fmla="*/ 131380 h 131380"/>
              <a:gd name="connsiteX3" fmla="*/ 0 w 152400"/>
              <a:gd name="connsiteY3" fmla="*/ 131380 h 131380"/>
              <a:gd name="connsiteX0" fmla="*/ 0 w 152400"/>
              <a:gd name="connsiteY0" fmla="*/ 131380 h 222820"/>
              <a:gd name="connsiteX1" fmla="*/ 76200 w 152400"/>
              <a:gd name="connsiteY1" fmla="*/ 0 h 222820"/>
              <a:gd name="connsiteX2" fmla="*/ 152400 w 152400"/>
              <a:gd name="connsiteY2" fmla="*/ 131380 h 222820"/>
              <a:gd name="connsiteX3" fmla="*/ 91440 w 152400"/>
              <a:gd name="connsiteY3" fmla="*/ 222820 h 222820"/>
              <a:gd name="connsiteX0" fmla="*/ 0 w 152400"/>
              <a:gd name="connsiteY0" fmla="*/ 131380 h 131380"/>
              <a:gd name="connsiteX1" fmla="*/ 76200 w 152400"/>
              <a:gd name="connsiteY1" fmla="*/ 0 h 131380"/>
              <a:gd name="connsiteX2" fmla="*/ 152400 w 152400"/>
              <a:gd name="connsiteY2" fmla="*/ 131380 h 1313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52400" h="131380">
                <a:moveTo>
                  <a:pt x="0" y="131380"/>
                </a:moveTo>
                <a:lnTo>
                  <a:pt x="76200" y="0"/>
                </a:lnTo>
                <a:lnTo>
                  <a:pt x="152400" y="131380"/>
                </a:lnTo>
              </a:path>
            </a:pathLst>
          </a:custGeom>
          <a:noFill/>
          <a:ln w="15875" cap="rnd">
            <a:solidFill>
              <a:schemeClr val="accent6"/>
            </a:solidFill>
            <a:round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" name="Rectangle: Rounded Corners 1">
            <a:extLst>
              <a:ext uri="{FF2B5EF4-FFF2-40B4-BE49-F238E27FC236}">
                <a16:creationId xmlns:a16="http://schemas.microsoft.com/office/drawing/2014/main" id="{C09888E4-C630-4125-477F-91F3DEE66184}"/>
              </a:ext>
            </a:extLst>
          </p:cNvPr>
          <p:cNvSpPr/>
          <p:nvPr/>
        </p:nvSpPr>
        <p:spPr>
          <a:xfrm>
            <a:off x="5301208" y="6402"/>
            <a:ext cx="3391878" cy="388377"/>
          </a:xfrm>
          <a:prstGeom prst="roundRect">
            <a:avLst/>
          </a:prstGeom>
        </p:spPr>
        <p:style>
          <a:lnRef idx="2">
            <a:schemeClr val="accent6">
              <a:shade val="15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GB" dirty="0"/>
              <a:t>Only for internal use by NPOs</a:t>
            </a:r>
          </a:p>
        </p:txBody>
      </p:sp>
    </p:spTree>
    <p:extLst>
      <p:ext uri="{BB962C8B-B14F-4D97-AF65-F5344CB8AC3E}">
        <p14:creationId xmlns:p14="http://schemas.microsoft.com/office/powerpoint/2010/main" val="299410773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LANGUAGE_ID" val="2057"/>
  <p:tag name="EE4P_STYLE_ID" val="6cd991bf-f022-4378-96e7-2c338aeb3f5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HIDDENSHAPE" val="1"/>
</p:tagLst>
</file>

<file path=ppt/theme/theme1.xml><?xml version="1.0" encoding="utf-8"?>
<a:theme xmlns:a="http://schemas.openxmlformats.org/drawingml/2006/main" name="Office">
  <a:themeElements>
    <a:clrScheme name="EPO">
      <a:dk1>
        <a:srgbClr val="404955"/>
      </a:dk1>
      <a:lt1>
        <a:srgbClr val="FFFFFF"/>
      </a:lt1>
      <a:dk2>
        <a:srgbClr val="404955"/>
      </a:dk2>
      <a:lt2>
        <a:srgbClr val="FFFFFF"/>
      </a:lt2>
      <a:accent1>
        <a:srgbClr val="666D77"/>
      </a:accent1>
      <a:accent2>
        <a:srgbClr val="8C9299"/>
      </a:accent2>
      <a:accent3>
        <a:srgbClr val="9FA4AA"/>
      </a:accent3>
      <a:accent4>
        <a:srgbClr val="B3B6BB"/>
      </a:accent4>
      <a:accent5>
        <a:srgbClr val="D9DBDD"/>
      </a:accent5>
      <a:accent6>
        <a:srgbClr val="D93317"/>
      </a:accent6>
      <a:hlink>
        <a:srgbClr val="0000FF"/>
      </a:hlink>
      <a:folHlink>
        <a:srgbClr val="954F72"/>
      </a:folHlink>
    </a:clrScheme>
    <a:fontScheme name="EPO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custClrLst>
    <a:custClr name="light green">
      <a:srgbClr val="30CCBF"/>
    </a:custClr>
    <a:custClr name="yellow">
      <a:srgbClr val="D4DB12"/>
    </a:custClr>
    <a:custClr name="dark green">
      <a:srgbClr val="337878"/>
    </a:custClr>
    <a:custClr name="blue">
      <a:srgbClr val="0262CA"/>
    </a:custClr>
    <a:custClr name="orange">
      <a:srgbClr val="FF8200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18409ded-8b58-478d-a676-15cb51dd8f22">
      <Terms xmlns="http://schemas.microsoft.com/office/infopath/2007/PartnerControls"/>
    </lcf76f155ced4ddcb4097134ff3c332f>
    <TaxCatchAll xmlns="f875dccf-0289-468e-9410-b4bb8c042e10" xsi:nil="true"/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65A15E442BB434489C450EB42AB378FA" ma:contentTypeVersion="14" ma:contentTypeDescription="Create a new document." ma:contentTypeScope="" ma:versionID="aa6885181992d9f56a098884fb3d7f2e">
  <xsd:schema xmlns:xsd="http://www.w3.org/2001/XMLSchema" xmlns:xs="http://www.w3.org/2001/XMLSchema" xmlns:p="http://schemas.microsoft.com/office/2006/metadata/properties" xmlns:ns2="18409ded-8b58-478d-a676-15cb51dd8f22" xmlns:ns3="f875dccf-0289-468e-9410-b4bb8c042e10" targetNamespace="http://schemas.microsoft.com/office/2006/metadata/properties" ma:root="true" ma:fieldsID="e1111f075f00bed3e5fd14591916ea77" ns2:_="" ns3:_="">
    <xsd:import namespace="18409ded-8b58-478d-a676-15cb51dd8f22"/>
    <xsd:import namespace="f875dccf-0289-468e-9410-b4bb8c042e10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ObjectDetectorVersions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8409ded-8b58-478d-a676-15cb51dd8f22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11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lcf76f155ced4ddcb4097134ff3c332f" ma:index="15" nillable="true" ma:taxonomy="true" ma:internalName="lcf76f155ced4ddcb4097134ff3c332f" ma:taxonomyFieldName="MediaServiceImageTags" ma:displayName="Image Tags" ma:readOnly="false" ma:fieldId="{5cf76f15-5ced-4ddc-b409-7134ff3c332f}" ma:taxonomyMulti="true" ma:sspId="0d00c79f-2fee-4985-a272-9476a0b3b047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7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OCR" ma:index="18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9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20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21" nillable="true" ma:displayName="MediaLengthInSeconds" ma:hidden="true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875dccf-0289-468e-9410-b4bb8c042e10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6" nillable="true" ma:displayName="Taxonomy Catch All Column" ma:hidden="true" ma:list="{2eaaa525-83b5-4db4-8cc1-ce07df39f7a1}" ma:internalName="TaxCatchAll" ma:showField="CatchAllData" ma:web="f875dccf-0289-468e-9410-b4bb8c042e10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049FA73B-8A34-4679-82F3-CE0F08631DF1}">
  <ds:schemaRefs>
    <ds:schemaRef ds:uri="18409ded-8b58-478d-a676-15cb51dd8f22"/>
    <ds:schemaRef ds:uri="f875dccf-0289-468e-9410-b4bb8c042e10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19E40488-B65F-4303-B8C7-F2D5FB545BCE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F9C92E92-8F3C-432F-B91F-22B1A5DF9BFB}">
  <ds:schemaRefs>
    <ds:schemaRef ds:uri="18409ded-8b58-478d-a676-15cb51dd8f22"/>
    <ds:schemaRef ds:uri="f875dccf-0289-468e-9410-b4bb8c042e10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241</TotalTime>
  <Words>609</Words>
  <Application>Microsoft Office PowerPoint</Application>
  <PresentationFormat>On-screen Show (16:9)</PresentationFormat>
  <Paragraphs>110</Paragraphs>
  <Slides>6</Slides>
  <Notes>4</Notes>
  <HiddenSlides>0</HiddenSlides>
  <MMClips>0</MMClip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6</vt:i4>
      </vt:variant>
    </vt:vector>
  </HeadingPairs>
  <TitlesOfParts>
    <vt:vector size="7" baseType="lpstr">
      <vt:lpstr>Office</vt:lpstr>
      <vt:lpstr>EUROPEAN QUALIFYING EXAMINATION (EQE)</vt:lpstr>
      <vt:lpstr>Objectives of the Candidate support programme (CSP)</vt:lpstr>
      <vt:lpstr>CSP SUPPORT FOR EQE CANDIDATES based on 3 pillars</vt:lpstr>
      <vt:lpstr>Two Forms of SUPPORT FOR EQE SUCCESS</vt:lpstr>
      <vt:lpstr>OPERATIONAL DEADLINES FOR CSP ON EQE 2027</vt:lpstr>
      <vt:lpstr>IMPORTANT STEPS for NATIONAL PATENT OFFICES OF MEMBER STATES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European Patent Office</dc:creator>
  <cp:lastModifiedBy>Bogoljub Ilievski</cp:lastModifiedBy>
  <cp:revision>1464</cp:revision>
  <dcterms:created xsi:type="dcterms:W3CDTF">2022-05-31T13:21:50Z</dcterms:created>
  <dcterms:modified xsi:type="dcterms:W3CDTF">2026-04-16T14:51:3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65A15E442BB434489C450EB42AB378FA</vt:lpwstr>
  </property>
  <property fmtid="{D5CDD505-2E9C-101B-9397-08002B2CF9AE}" pid="3" name="MediaServiceImageTags">
    <vt:lpwstr/>
  </property>
</Properties>
</file>